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3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4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  <p:sldMasterId id="2147483730" r:id="rId5"/>
    <p:sldMasterId id="2147483758" r:id="rId6"/>
    <p:sldMasterId id="2147483786" r:id="rId7"/>
    <p:sldMasterId id="2147483798" r:id="rId8"/>
  </p:sldMasterIdLst>
  <p:notesMasterIdLst>
    <p:notesMasterId r:id="rId25"/>
  </p:notesMasterIdLst>
  <p:handoutMasterIdLst>
    <p:handoutMasterId r:id="rId26"/>
  </p:handoutMasterIdLst>
  <p:sldIdLst>
    <p:sldId id="256" r:id="rId9"/>
    <p:sldId id="984" r:id="rId10"/>
    <p:sldId id="781" r:id="rId11"/>
    <p:sldId id="780" r:id="rId12"/>
    <p:sldId id="3992" r:id="rId13"/>
    <p:sldId id="3991" r:id="rId14"/>
    <p:sldId id="3997" r:id="rId15"/>
    <p:sldId id="3995" r:id="rId16"/>
    <p:sldId id="4000" r:id="rId17"/>
    <p:sldId id="3996" r:id="rId18"/>
    <p:sldId id="3998" r:id="rId19"/>
    <p:sldId id="4004" r:id="rId20"/>
    <p:sldId id="4003" r:id="rId21"/>
    <p:sldId id="4005" r:id="rId22"/>
    <p:sldId id="3999" r:id="rId23"/>
    <p:sldId id="874" r:id="rId24"/>
  </p:sldIdLst>
  <p:sldSz cx="12192000" cy="6858000"/>
  <p:notesSz cx="6794500" cy="9906000"/>
  <p:custDataLst>
    <p:tags r:id="rId27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aute Frøisland" initials="GF" lastIdx="5" clrIdx="0">
    <p:extLst>
      <p:ext uri="{19B8F6BF-5375-455C-9EA6-DF929625EA0E}">
        <p15:presenceInfo xmlns:p15="http://schemas.microsoft.com/office/powerpoint/2012/main" userId="S-1-5-21-1927809936-1189766144-1318725885-623328" providerId="AD"/>
      </p:ext>
    </p:extLst>
  </p:cmAuthor>
  <p:cmAuthor id="2" name="Marit Kristine Olli Helgesen" initials="MKOH" lastIdx="1" clrIdx="1">
    <p:extLst>
      <p:ext uri="{19B8F6BF-5375-455C-9EA6-DF929625EA0E}">
        <p15:presenceInfo xmlns:p15="http://schemas.microsoft.com/office/powerpoint/2012/main" userId="S-1-5-21-1927809936-1189766144-1318725885-79277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BBDC3"/>
    <a:srgbClr val="3C8C93"/>
    <a:srgbClr val="BBE0E3"/>
    <a:srgbClr val="0A0000"/>
    <a:srgbClr val="020000"/>
    <a:srgbClr val="010000"/>
    <a:srgbClr val="CEFFDF"/>
    <a:srgbClr val="FFFFFF"/>
    <a:srgbClr val="0000FF"/>
    <a:srgbClr val="0000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9C1392-6ED5-47D7-A0DD-B8AD542103AF}" v="7580" dt="2023-04-12T08:48:33.794"/>
    <p1510:client id="{54B70266-2BD5-A442-EF66-EBB8C9930A25}" v="8" dt="2023-04-11T08:56:19.044"/>
    <p1510:client id="{5A530820-60AC-B0F4-E332-D441DDDB9879}" v="21" dt="2023-04-12T09:02:39.188"/>
    <p1510:client id="{839F9110-5948-4951-822F-4D1CFD19D47D}" v="2456" dt="2023-04-11T13:29:56.567"/>
    <p1510:client id="{99BA7D35-09B3-61D9-5826-657F3546CBDB}" v="512" dt="2023-04-11T13:16:04.70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1263" autoAdjust="0"/>
  </p:normalViewPr>
  <p:slideViewPr>
    <p:cSldViewPr snapToGrid="0">
      <p:cViewPr varScale="1">
        <p:scale>
          <a:sx n="112" d="100"/>
          <a:sy n="112" d="100"/>
        </p:scale>
        <p:origin x="115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notesMaster" Target="notesMasters/notesMaster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commentAuthors" Target="commentAuthor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8" Type="http://schemas.openxmlformats.org/officeDocument/2006/relationships/slideMaster" Target="slideMasters/slideMaster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anne Sinead Flesland" userId="S::mariasfl@uio.no::facc3627-c0de-4b78-919d-1b6bf2dc9821" providerId="AD" clId="Web-{34ADB011-A8B6-2396-2417-B5D53A1D9D39}"/>
    <pc:docChg chg="addSld delSld modSld sldOrd">
      <pc:chgData name="Marianne Sinead Flesland" userId="S::mariasfl@uio.no::facc3627-c0de-4b78-919d-1b6bf2dc9821" providerId="AD" clId="Web-{34ADB011-A8B6-2396-2417-B5D53A1D9D39}" dt="2023-04-03T10:12:31.355" v="78" actId="20577"/>
      <pc:docMkLst>
        <pc:docMk/>
      </pc:docMkLst>
      <pc:sldChg chg="new del">
        <pc:chgData name="Marianne Sinead Flesland" userId="S::mariasfl@uio.no::facc3627-c0de-4b78-919d-1b6bf2dc9821" providerId="AD" clId="Web-{34ADB011-A8B6-2396-2417-B5D53A1D9D39}" dt="2023-04-03T10:09:23.621" v="1"/>
        <pc:sldMkLst>
          <pc:docMk/>
          <pc:sldMk cId="1379425377" sldId="4001"/>
        </pc:sldMkLst>
      </pc:sldChg>
      <pc:sldChg chg="addSp delSp modSp add del mod ord replId setBg modClrScheme chgLayout">
        <pc:chgData name="Marianne Sinead Flesland" userId="S::mariasfl@uio.no::facc3627-c0de-4b78-919d-1b6bf2dc9821" providerId="AD" clId="Web-{34ADB011-A8B6-2396-2417-B5D53A1D9D39}" dt="2023-04-03T10:12:10.342" v="76"/>
        <pc:sldMkLst>
          <pc:docMk/>
          <pc:sldMk cId="2597010088" sldId="4001"/>
        </pc:sldMkLst>
        <pc:spChg chg="add del mod ord">
          <ac:chgData name="Marianne Sinead Flesland" userId="S::mariasfl@uio.no::facc3627-c0de-4b78-919d-1b6bf2dc9821" providerId="AD" clId="Web-{34ADB011-A8B6-2396-2417-B5D53A1D9D39}" dt="2023-04-03T10:11:01.310" v="48"/>
          <ac:spMkLst>
            <pc:docMk/>
            <pc:sldMk cId="2597010088" sldId="4001"/>
            <ac:spMk id="2" creationId="{6BE8AB3D-8AAF-05A3-62A1-09EF806BAC2A}"/>
          </ac:spMkLst>
        </pc:spChg>
        <pc:spChg chg="mod ord">
          <ac:chgData name="Marianne Sinead Flesland" userId="S::mariasfl@uio.no::facc3627-c0de-4b78-919d-1b6bf2dc9821" providerId="AD" clId="Web-{34ADB011-A8B6-2396-2417-B5D53A1D9D39}" dt="2023-04-03T10:11:22.638" v="56"/>
          <ac:spMkLst>
            <pc:docMk/>
            <pc:sldMk cId="2597010088" sldId="4001"/>
            <ac:spMk id="3" creationId="{203D3811-9EEE-55A2-A351-502F0AADC2CA}"/>
          </ac:spMkLst>
        </pc:spChg>
        <pc:spChg chg="mod ord">
          <ac:chgData name="Marianne Sinead Flesland" userId="S::mariasfl@uio.no::facc3627-c0de-4b78-919d-1b6bf2dc9821" providerId="AD" clId="Web-{34ADB011-A8B6-2396-2417-B5D53A1D9D39}" dt="2023-04-03T10:11:22.638" v="56"/>
          <ac:spMkLst>
            <pc:docMk/>
            <pc:sldMk cId="2597010088" sldId="4001"/>
            <ac:spMk id="4" creationId="{46FB6AC9-CBD9-BA52-BA5B-9F01A5F1C843}"/>
          </ac:spMkLst>
        </pc:spChg>
        <pc:spChg chg="mod ord">
          <ac:chgData name="Marianne Sinead Flesland" userId="S::mariasfl@uio.no::facc3627-c0de-4b78-919d-1b6bf2dc9821" providerId="AD" clId="Web-{34ADB011-A8B6-2396-2417-B5D53A1D9D39}" dt="2023-04-03T10:11:22.638" v="56"/>
          <ac:spMkLst>
            <pc:docMk/>
            <pc:sldMk cId="2597010088" sldId="4001"/>
            <ac:spMk id="5" creationId="{1D82BFED-489B-F9E5-9C1F-F1B28F577858}"/>
          </ac:spMkLst>
        </pc:spChg>
        <pc:spChg chg="add del mod">
          <ac:chgData name="Marianne Sinead Flesland" userId="S::mariasfl@uio.no::facc3627-c0de-4b78-919d-1b6bf2dc9821" providerId="AD" clId="Web-{34ADB011-A8B6-2396-2417-B5D53A1D9D39}" dt="2023-04-03T10:10:57.872" v="43"/>
          <ac:spMkLst>
            <pc:docMk/>
            <pc:sldMk cId="2597010088" sldId="4001"/>
            <ac:spMk id="10" creationId="{BE740541-3C2C-F939-D13D-B134800DEEBA}"/>
          </ac:spMkLst>
        </pc:spChg>
        <pc:spChg chg="add del mod">
          <ac:chgData name="Marianne Sinead Flesland" userId="S::mariasfl@uio.no::facc3627-c0de-4b78-919d-1b6bf2dc9821" providerId="AD" clId="Web-{34ADB011-A8B6-2396-2417-B5D53A1D9D39}" dt="2023-04-03T10:10:57.872" v="43"/>
          <ac:spMkLst>
            <pc:docMk/>
            <pc:sldMk cId="2597010088" sldId="4001"/>
            <ac:spMk id="12" creationId="{C2725F15-1E27-7F2A-BBEB-CAB6E21AEA7B}"/>
          </ac:spMkLst>
        </pc:spChg>
        <pc:spChg chg="add del mod">
          <ac:chgData name="Marianne Sinead Flesland" userId="S::mariasfl@uio.no::facc3627-c0de-4b78-919d-1b6bf2dc9821" providerId="AD" clId="Web-{34ADB011-A8B6-2396-2417-B5D53A1D9D39}" dt="2023-04-03T10:10:59.935" v="45"/>
          <ac:spMkLst>
            <pc:docMk/>
            <pc:sldMk cId="2597010088" sldId="4001"/>
            <ac:spMk id="14" creationId="{E3EC3BC5-7554-C1CC-F7A6-29251C1857AF}"/>
          </ac:spMkLst>
        </pc:spChg>
        <pc:spChg chg="add del mod">
          <ac:chgData name="Marianne Sinead Flesland" userId="S::mariasfl@uio.no::facc3627-c0de-4b78-919d-1b6bf2dc9821" providerId="AD" clId="Web-{34ADB011-A8B6-2396-2417-B5D53A1D9D39}" dt="2023-04-03T10:10:59.935" v="45"/>
          <ac:spMkLst>
            <pc:docMk/>
            <pc:sldMk cId="2597010088" sldId="4001"/>
            <ac:spMk id="15" creationId="{9A09BF82-C850-8F92-24DC-9B52FA76B2D9}"/>
          </ac:spMkLst>
        </pc:spChg>
        <pc:spChg chg="add del mod">
          <ac:chgData name="Marianne Sinead Flesland" userId="S::mariasfl@uio.no::facc3627-c0de-4b78-919d-1b6bf2dc9821" providerId="AD" clId="Web-{34ADB011-A8B6-2396-2417-B5D53A1D9D39}" dt="2023-04-03T10:10:59.935" v="45"/>
          <ac:spMkLst>
            <pc:docMk/>
            <pc:sldMk cId="2597010088" sldId="4001"/>
            <ac:spMk id="16" creationId="{CC8975B5-95A9-3F76-0DBD-055BCDA8065F}"/>
          </ac:spMkLst>
        </pc:spChg>
        <pc:spChg chg="add del mod">
          <ac:chgData name="Marianne Sinead Flesland" userId="S::mariasfl@uio.no::facc3627-c0de-4b78-919d-1b6bf2dc9821" providerId="AD" clId="Web-{34ADB011-A8B6-2396-2417-B5D53A1D9D39}" dt="2023-04-03T10:10:59.935" v="45"/>
          <ac:spMkLst>
            <pc:docMk/>
            <pc:sldMk cId="2597010088" sldId="4001"/>
            <ac:spMk id="17" creationId="{66C26C7F-9193-2810-6A6D-6D55C0DDCF52}"/>
          </ac:spMkLst>
        </pc:spChg>
        <pc:spChg chg="add del mod">
          <ac:chgData name="Marianne Sinead Flesland" userId="S::mariasfl@uio.no::facc3627-c0de-4b78-919d-1b6bf2dc9821" providerId="AD" clId="Web-{34ADB011-A8B6-2396-2417-B5D53A1D9D39}" dt="2023-04-03T10:10:59.935" v="45"/>
          <ac:spMkLst>
            <pc:docMk/>
            <pc:sldMk cId="2597010088" sldId="4001"/>
            <ac:spMk id="18" creationId="{5AD4EFA4-F43A-EBDE-C806-7CEE0494E228}"/>
          </ac:spMkLst>
        </pc:spChg>
        <pc:spChg chg="add del mod">
          <ac:chgData name="Marianne Sinead Flesland" userId="S::mariasfl@uio.no::facc3627-c0de-4b78-919d-1b6bf2dc9821" providerId="AD" clId="Web-{34ADB011-A8B6-2396-2417-B5D53A1D9D39}" dt="2023-04-03T10:11:01.294" v="47"/>
          <ac:spMkLst>
            <pc:docMk/>
            <pc:sldMk cId="2597010088" sldId="4001"/>
            <ac:spMk id="20" creationId="{BE740541-3C2C-F939-D13D-B134800DEEBA}"/>
          </ac:spMkLst>
        </pc:spChg>
        <pc:spChg chg="add del mod">
          <ac:chgData name="Marianne Sinead Flesland" userId="S::mariasfl@uio.no::facc3627-c0de-4b78-919d-1b6bf2dc9821" providerId="AD" clId="Web-{34ADB011-A8B6-2396-2417-B5D53A1D9D39}" dt="2023-04-03T10:11:01.294" v="47"/>
          <ac:spMkLst>
            <pc:docMk/>
            <pc:sldMk cId="2597010088" sldId="4001"/>
            <ac:spMk id="21" creationId="{C2725F15-1E27-7F2A-BBEB-CAB6E21AEA7B}"/>
          </ac:spMkLst>
        </pc:spChg>
        <pc:spChg chg="add mod">
          <ac:chgData name="Marianne Sinead Flesland" userId="S::mariasfl@uio.no::facc3627-c0de-4b78-919d-1b6bf2dc9821" providerId="AD" clId="Web-{34ADB011-A8B6-2396-2417-B5D53A1D9D39}" dt="2023-04-03T10:11:41.342" v="70" actId="20577"/>
          <ac:spMkLst>
            <pc:docMk/>
            <pc:sldMk cId="2597010088" sldId="4001"/>
            <ac:spMk id="23" creationId="{B121FD48-119C-E6CA-D93C-5C8A1F62BF1D}"/>
          </ac:spMkLst>
        </pc:spChg>
        <pc:spChg chg="add del mod">
          <ac:chgData name="Marianne Sinead Flesland" userId="S::mariasfl@uio.no::facc3627-c0de-4b78-919d-1b6bf2dc9821" providerId="AD" clId="Web-{34ADB011-A8B6-2396-2417-B5D53A1D9D39}" dt="2023-04-03T10:11:22.638" v="56"/>
          <ac:spMkLst>
            <pc:docMk/>
            <pc:sldMk cId="2597010088" sldId="4001"/>
            <ac:spMk id="24" creationId="{A494521F-8689-03BE-90CE-AB49EB001919}"/>
          </ac:spMkLst>
        </pc:spChg>
        <pc:spChg chg="add del mod">
          <ac:chgData name="Marianne Sinead Flesland" userId="S::mariasfl@uio.no::facc3627-c0de-4b78-919d-1b6bf2dc9821" providerId="AD" clId="Web-{34ADB011-A8B6-2396-2417-B5D53A1D9D39}" dt="2023-04-03T10:11:22.638" v="56"/>
          <ac:spMkLst>
            <pc:docMk/>
            <pc:sldMk cId="2597010088" sldId="4001"/>
            <ac:spMk id="25" creationId="{BF1897EA-01A9-C223-E727-E33260680382}"/>
          </ac:spMkLst>
        </pc:spChg>
        <pc:spChg chg="add mod ord">
          <ac:chgData name="Marianne Sinead Flesland" userId="S::mariasfl@uio.no::facc3627-c0de-4b78-919d-1b6bf2dc9821" providerId="AD" clId="Web-{34ADB011-A8B6-2396-2417-B5D53A1D9D39}" dt="2023-04-03T10:11:33.498" v="60" actId="20577"/>
          <ac:spMkLst>
            <pc:docMk/>
            <pc:sldMk cId="2597010088" sldId="4001"/>
            <ac:spMk id="26" creationId="{AA29B617-D486-7EFA-5E1C-4E6BDE4C8465}"/>
          </ac:spMkLst>
        </pc:spChg>
        <pc:spChg chg="add mod">
          <ac:chgData name="Marianne Sinead Flesland" userId="S::mariasfl@uio.no::facc3627-c0de-4b78-919d-1b6bf2dc9821" providerId="AD" clId="Web-{34ADB011-A8B6-2396-2417-B5D53A1D9D39}" dt="2023-04-03T10:11:22.638" v="56"/>
          <ac:spMkLst>
            <pc:docMk/>
            <pc:sldMk cId="2597010088" sldId="4001"/>
            <ac:spMk id="31" creationId="{2811612C-FD03-5582-7BB0-F418D8B6EB21}"/>
          </ac:spMkLst>
        </pc:spChg>
        <pc:spChg chg="add mod">
          <ac:chgData name="Marianne Sinead Flesland" userId="S::mariasfl@uio.no::facc3627-c0de-4b78-919d-1b6bf2dc9821" providerId="AD" clId="Web-{34ADB011-A8B6-2396-2417-B5D53A1D9D39}" dt="2023-04-03T10:11:22.638" v="56"/>
          <ac:spMkLst>
            <pc:docMk/>
            <pc:sldMk cId="2597010088" sldId="4001"/>
            <ac:spMk id="33" creationId="{33CBA81C-6696-05DF-4895-B2B3AE61A792}"/>
          </ac:spMkLst>
        </pc:spChg>
        <pc:spChg chg="add mod">
          <ac:chgData name="Marianne Sinead Flesland" userId="S::mariasfl@uio.no::facc3627-c0de-4b78-919d-1b6bf2dc9821" providerId="AD" clId="Web-{34ADB011-A8B6-2396-2417-B5D53A1D9D39}" dt="2023-04-03T10:11:45.373" v="73" actId="20577"/>
          <ac:spMkLst>
            <pc:docMk/>
            <pc:sldMk cId="2597010088" sldId="4001"/>
            <ac:spMk id="35" creationId="{D13A0FC4-B70F-8D42-86D9-ABEA67D45927}"/>
          </ac:spMkLst>
        </pc:spChg>
        <pc:spChg chg="add mod">
          <ac:chgData name="Marianne Sinead Flesland" userId="S::mariasfl@uio.no::facc3627-c0de-4b78-919d-1b6bf2dc9821" providerId="AD" clId="Web-{34ADB011-A8B6-2396-2417-B5D53A1D9D39}" dt="2023-04-03T10:11:22.638" v="56"/>
          <ac:spMkLst>
            <pc:docMk/>
            <pc:sldMk cId="2597010088" sldId="4001"/>
            <ac:spMk id="37" creationId="{F8D1195C-E523-1B58-07FA-51F1A03BAC80}"/>
          </ac:spMkLst>
        </pc:spChg>
        <pc:spChg chg="add mod">
          <ac:chgData name="Marianne Sinead Flesland" userId="S::mariasfl@uio.no::facc3627-c0de-4b78-919d-1b6bf2dc9821" providerId="AD" clId="Web-{34ADB011-A8B6-2396-2417-B5D53A1D9D39}" dt="2023-04-03T10:11:22.638" v="56"/>
          <ac:spMkLst>
            <pc:docMk/>
            <pc:sldMk cId="2597010088" sldId="4001"/>
            <ac:spMk id="39" creationId="{EBCF7381-71AF-CBED-1519-9D2CC2619F47}"/>
          </ac:spMkLst>
        </pc:spChg>
        <pc:spChg chg="add mod">
          <ac:chgData name="Marianne Sinead Flesland" userId="S::mariasfl@uio.no::facc3627-c0de-4b78-919d-1b6bf2dc9821" providerId="AD" clId="Web-{34ADB011-A8B6-2396-2417-B5D53A1D9D39}" dt="2023-04-03T10:11:22.638" v="56"/>
          <ac:spMkLst>
            <pc:docMk/>
            <pc:sldMk cId="2597010088" sldId="4001"/>
            <ac:spMk id="41" creationId="{DA8EF549-FB92-1756-4CB5-5F5D3ED3147D}"/>
          </ac:spMkLst>
        </pc:spChg>
        <pc:spChg chg="add mod">
          <ac:chgData name="Marianne Sinead Flesland" userId="S::mariasfl@uio.no::facc3627-c0de-4b78-919d-1b6bf2dc9821" providerId="AD" clId="Web-{34ADB011-A8B6-2396-2417-B5D53A1D9D39}" dt="2023-04-03T10:11:22.638" v="56"/>
          <ac:spMkLst>
            <pc:docMk/>
            <pc:sldMk cId="2597010088" sldId="4001"/>
            <ac:spMk id="43" creationId="{CCB25FBD-2185-CD52-B4C4-F52C23DDE8D4}"/>
          </ac:spMkLst>
        </pc:spChg>
      </pc:sldChg>
      <pc:sldChg chg="new del">
        <pc:chgData name="Marianne Sinead Flesland" userId="S::mariasfl@uio.no::facc3627-c0de-4b78-919d-1b6bf2dc9821" providerId="AD" clId="Web-{34ADB011-A8B6-2396-2417-B5D53A1D9D39}" dt="2023-04-03T10:12:12.076" v="77"/>
        <pc:sldMkLst>
          <pc:docMk/>
          <pc:sldMk cId="2755930183" sldId="4002"/>
        </pc:sldMkLst>
      </pc:sldChg>
      <pc:sldChg chg="modSp new">
        <pc:chgData name="Marianne Sinead Flesland" userId="S::mariasfl@uio.no::facc3627-c0de-4b78-919d-1b6bf2dc9821" providerId="AD" clId="Web-{34ADB011-A8B6-2396-2417-B5D53A1D9D39}" dt="2023-04-03T10:12:12.748" v="78" actId="20577"/>
        <pc:sldMkLst>
          <pc:docMk/>
          <pc:sldMk cId="3269269740" sldId="4003"/>
        </pc:sldMkLst>
        <pc:spChg chg="mod">
          <ac:chgData name="Marianne Sinead Flesland" userId="S::mariasfl@uio.no::facc3627-c0de-4b78-919d-1b6bf2dc9821" providerId="AD" clId="Web-{34ADB011-A8B6-2396-2417-B5D53A1D9D39}" dt="2023-04-03T10:12:12.748" v="78" actId="20577"/>
          <ac:spMkLst>
            <pc:docMk/>
            <pc:sldMk cId="3269269740" sldId="4003"/>
            <ac:spMk id="5" creationId="{E847F357-FC96-B11A-9FEE-E31E5D1FB814}"/>
          </ac:spMkLst>
        </pc:spChg>
      </pc:sldChg>
    </pc:docChg>
  </pc:docChgLst>
  <pc:docChgLst>
    <pc:chgData name="Ole Magnus Anthun Ørsnes" userId="S::omorsnes@uio.no::5ff8797a-326a-4637-a45b-297561800d16" providerId="AD" clId="Web-{2E8847B5-81C6-4F4B-ACC3-B4C887D84113}"/>
    <pc:docChg chg="modSld">
      <pc:chgData name="Ole Magnus Anthun Ørsnes" userId="S::omorsnes@uio.no::5ff8797a-326a-4637-a45b-297561800d16" providerId="AD" clId="Web-{2E8847B5-81C6-4F4B-ACC3-B4C887D84113}" dt="2023-03-31T11:35:44.100" v="200" actId="20577"/>
      <pc:docMkLst>
        <pc:docMk/>
      </pc:docMkLst>
      <pc:sldChg chg="modSp modNotes">
        <pc:chgData name="Ole Magnus Anthun Ørsnes" userId="S::omorsnes@uio.no::5ff8797a-326a-4637-a45b-297561800d16" providerId="AD" clId="Web-{2E8847B5-81C6-4F4B-ACC3-B4C887D84113}" dt="2023-03-31T11:35:44.100" v="200" actId="20577"/>
        <pc:sldMkLst>
          <pc:docMk/>
          <pc:sldMk cId="1539970819" sldId="3996"/>
        </pc:sldMkLst>
        <pc:spChg chg="mod">
          <ac:chgData name="Ole Magnus Anthun Ørsnes" userId="S::omorsnes@uio.no::5ff8797a-326a-4637-a45b-297561800d16" providerId="AD" clId="Web-{2E8847B5-81C6-4F4B-ACC3-B4C887D84113}" dt="2023-03-31T11:35:44.100" v="200" actId="20577"/>
          <ac:spMkLst>
            <pc:docMk/>
            <pc:sldMk cId="1539970819" sldId="3996"/>
            <ac:spMk id="5" creationId="{45C11E42-719E-8A79-888E-5936238A3BC8}"/>
          </ac:spMkLst>
        </pc:spChg>
      </pc:sldChg>
    </pc:docChg>
  </pc:docChgLst>
  <pc:docChgLst>
    <pc:chgData clId="Web-{34ADB011-A8B6-2396-2417-B5D53A1D9D39}"/>
    <pc:docChg chg="modSld">
      <pc:chgData name="" userId="" providerId="" clId="Web-{34ADB011-A8B6-2396-2417-B5D53A1D9D39}" dt="2023-04-03T10:12:27.714" v="0" actId="20577"/>
      <pc:docMkLst>
        <pc:docMk/>
      </pc:docMkLst>
      <pc:sldChg chg="modSp">
        <pc:chgData name="" userId="" providerId="" clId="Web-{34ADB011-A8B6-2396-2417-B5D53A1D9D39}" dt="2023-04-03T10:12:27.714" v="0" actId="20577"/>
        <pc:sldMkLst>
          <pc:docMk/>
          <pc:sldMk cId="3269269740" sldId="4003"/>
        </pc:sldMkLst>
        <pc:spChg chg="mod">
          <ac:chgData name="" userId="" providerId="" clId="Web-{34ADB011-A8B6-2396-2417-B5D53A1D9D39}" dt="2023-04-03T10:12:27.714" v="0" actId="20577"/>
          <ac:spMkLst>
            <pc:docMk/>
            <pc:sldMk cId="3269269740" sldId="4003"/>
            <ac:spMk id="5" creationId="{E847F357-FC96-B11A-9FEE-E31E5D1FB814}"/>
          </ac:spMkLst>
        </pc:spChg>
      </pc:sldChg>
    </pc:docChg>
  </pc:docChgLst>
  <pc:docChgLst>
    <pc:chgData name="Marianne Sinead Flesland" userId="S::mariasfl@uio.no::facc3627-c0de-4b78-919d-1b6bf2dc9821" providerId="AD" clId="Web-{5A530820-60AC-B0F4-E332-D441DDDB9879}"/>
    <pc:docChg chg="modSld">
      <pc:chgData name="Marianne Sinead Flesland" userId="S::mariasfl@uio.no::facc3627-c0de-4b78-919d-1b6bf2dc9821" providerId="AD" clId="Web-{5A530820-60AC-B0F4-E332-D441DDDB9879}" dt="2023-04-12T09:02:37.922" v="19" actId="20577"/>
      <pc:docMkLst>
        <pc:docMk/>
      </pc:docMkLst>
      <pc:sldChg chg="modSp">
        <pc:chgData name="Marianne Sinead Flesland" userId="S::mariasfl@uio.no::facc3627-c0de-4b78-919d-1b6bf2dc9821" providerId="AD" clId="Web-{5A530820-60AC-B0F4-E332-D441DDDB9879}" dt="2023-04-12T07:48:45.485" v="15" actId="20577"/>
        <pc:sldMkLst>
          <pc:docMk/>
          <pc:sldMk cId="3269269740" sldId="4003"/>
        </pc:sldMkLst>
        <pc:spChg chg="mod">
          <ac:chgData name="Marianne Sinead Flesland" userId="S::mariasfl@uio.no::facc3627-c0de-4b78-919d-1b6bf2dc9821" providerId="AD" clId="Web-{5A530820-60AC-B0F4-E332-D441DDDB9879}" dt="2023-04-12T07:48:45.485" v="15" actId="20577"/>
          <ac:spMkLst>
            <pc:docMk/>
            <pc:sldMk cId="3269269740" sldId="4003"/>
            <ac:spMk id="2" creationId="{C1BB1884-A2E3-AF50-3768-5B677C0D5A7E}"/>
          </ac:spMkLst>
        </pc:spChg>
      </pc:sldChg>
      <pc:sldChg chg="modSp">
        <pc:chgData name="Marianne Sinead Flesland" userId="S::mariasfl@uio.no::facc3627-c0de-4b78-919d-1b6bf2dc9821" providerId="AD" clId="Web-{5A530820-60AC-B0F4-E332-D441DDDB9879}" dt="2023-04-12T09:02:37.922" v="19" actId="20577"/>
        <pc:sldMkLst>
          <pc:docMk/>
          <pc:sldMk cId="3559593138" sldId="4004"/>
        </pc:sldMkLst>
        <pc:spChg chg="mod">
          <ac:chgData name="Marianne Sinead Flesland" userId="S::mariasfl@uio.no::facc3627-c0de-4b78-919d-1b6bf2dc9821" providerId="AD" clId="Web-{5A530820-60AC-B0F4-E332-D441DDDB9879}" dt="2023-04-12T09:02:37.922" v="19" actId="20577"/>
          <ac:spMkLst>
            <pc:docMk/>
            <pc:sldMk cId="3559593138" sldId="4004"/>
            <ac:spMk id="2" creationId="{ECC33D4C-A20E-152B-7ABF-E403B2A477C3}"/>
          </ac:spMkLst>
        </pc:spChg>
      </pc:sldChg>
    </pc:docChg>
  </pc:docChgLst>
  <pc:docChgLst>
    <pc:chgData name="Jon Christian Ottersen" userId="319dd709-9224-4f40-a9aa-4a008ebcaa5b" providerId="ADAL" clId="{839F9110-5948-4951-822F-4D1CFD19D47D}"/>
    <pc:docChg chg="undo custSel addSld delSld modSld sldOrd">
      <pc:chgData name="Jon Christian Ottersen" userId="319dd709-9224-4f40-a9aa-4a008ebcaa5b" providerId="ADAL" clId="{839F9110-5948-4951-822F-4D1CFD19D47D}" dt="2023-04-11T13:29:56.567" v="2997" actId="14100"/>
      <pc:docMkLst>
        <pc:docMk/>
      </pc:docMkLst>
      <pc:sldChg chg="modSp mod">
        <pc:chgData name="Jon Christian Ottersen" userId="319dd709-9224-4f40-a9aa-4a008ebcaa5b" providerId="ADAL" clId="{839F9110-5948-4951-822F-4D1CFD19D47D}" dt="2023-03-28T13:26:50.573" v="424" actId="207"/>
        <pc:sldMkLst>
          <pc:docMk/>
          <pc:sldMk cId="1548007822" sldId="256"/>
        </pc:sldMkLst>
        <pc:spChg chg="mod">
          <ac:chgData name="Jon Christian Ottersen" userId="319dd709-9224-4f40-a9aa-4a008ebcaa5b" providerId="ADAL" clId="{839F9110-5948-4951-822F-4D1CFD19D47D}" dt="2023-03-28T13:26:45.014" v="423" actId="207"/>
          <ac:spMkLst>
            <pc:docMk/>
            <pc:sldMk cId="1548007822" sldId="256"/>
            <ac:spMk id="4" creationId="{D2679736-DC89-4B1F-8650-FF9FFF390E02}"/>
          </ac:spMkLst>
        </pc:spChg>
        <pc:spChg chg="mod">
          <ac:chgData name="Jon Christian Ottersen" userId="319dd709-9224-4f40-a9aa-4a008ebcaa5b" providerId="ADAL" clId="{839F9110-5948-4951-822F-4D1CFD19D47D}" dt="2023-03-28T13:26:50.573" v="424" actId="207"/>
          <ac:spMkLst>
            <pc:docMk/>
            <pc:sldMk cId="1548007822" sldId="256"/>
            <ac:spMk id="10" creationId="{4AFE9AF5-7631-4B23-B1BD-7C05287A0EBC}"/>
          </ac:spMkLst>
        </pc:spChg>
      </pc:sldChg>
      <pc:sldChg chg="delSp modSp mod">
        <pc:chgData name="Jon Christian Ottersen" userId="319dd709-9224-4f40-a9aa-4a008ebcaa5b" providerId="ADAL" clId="{839F9110-5948-4951-822F-4D1CFD19D47D}" dt="2023-04-11T13:10:55.750" v="2902" actId="20577"/>
        <pc:sldMkLst>
          <pc:docMk/>
          <pc:sldMk cId="3689103261" sldId="780"/>
        </pc:sldMkLst>
        <pc:spChg chg="mod">
          <ac:chgData name="Jon Christian Ottersen" userId="319dd709-9224-4f40-a9aa-4a008ebcaa5b" providerId="ADAL" clId="{839F9110-5948-4951-822F-4D1CFD19D47D}" dt="2023-04-11T13:10:55.750" v="2902" actId="20577"/>
          <ac:spMkLst>
            <pc:docMk/>
            <pc:sldMk cId="3689103261" sldId="780"/>
            <ac:spMk id="3" creationId="{00000000-0000-0000-0000-000000000000}"/>
          </ac:spMkLst>
        </pc:spChg>
        <pc:picChg chg="del">
          <ac:chgData name="Jon Christian Ottersen" userId="319dd709-9224-4f40-a9aa-4a008ebcaa5b" providerId="ADAL" clId="{839F9110-5948-4951-822F-4D1CFD19D47D}" dt="2023-03-28T13:18:04.090" v="3" actId="478"/>
          <ac:picMkLst>
            <pc:docMk/>
            <pc:sldMk cId="3689103261" sldId="780"/>
            <ac:picMk id="6" creationId="{95409138-A926-4D15-9937-9F952C4BCE93}"/>
          </ac:picMkLst>
        </pc:picChg>
      </pc:sldChg>
      <pc:sldChg chg="modSp mod">
        <pc:chgData name="Jon Christian Ottersen" userId="319dd709-9224-4f40-a9aa-4a008ebcaa5b" providerId="ADAL" clId="{839F9110-5948-4951-822F-4D1CFD19D47D}" dt="2023-04-11T13:07:43.836" v="2886" actId="20577"/>
        <pc:sldMkLst>
          <pc:docMk/>
          <pc:sldMk cId="4080940158" sldId="781"/>
        </pc:sldMkLst>
        <pc:spChg chg="mod">
          <ac:chgData name="Jon Christian Ottersen" userId="319dd709-9224-4f40-a9aa-4a008ebcaa5b" providerId="ADAL" clId="{839F9110-5948-4951-822F-4D1CFD19D47D}" dt="2023-04-11T13:07:43.836" v="2886" actId="20577"/>
          <ac:spMkLst>
            <pc:docMk/>
            <pc:sldMk cId="4080940158" sldId="781"/>
            <ac:spMk id="3" creationId="{A4B63BBB-7669-4F07-8E7A-85307397D92E}"/>
          </ac:spMkLst>
        </pc:spChg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4121089596" sldId="1006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960942938" sldId="3458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2530153949" sldId="3459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1303881119" sldId="3461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2704158161" sldId="3474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1451798483" sldId="3475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1460226407" sldId="3476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1551652897" sldId="3477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4120606056" sldId="3478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2650711125" sldId="3479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3067832211" sldId="3480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1914422582" sldId="3482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994200671" sldId="3483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2120990186" sldId="3484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1424293404" sldId="3485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1978937099" sldId="3487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4088789145" sldId="3488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26518362" sldId="3489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2541213838" sldId="3490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709170480" sldId="3491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773366342" sldId="3492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2352657950" sldId="3493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3782342056" sldId="3494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2210703327" sldId="3495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1469439847" sldId="3496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1481846326" sldId="3497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3448125972" sldId="3498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3492505064" sldId="3500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1845487300" sldId="3501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4227206434" sldId="3502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2664038837" sldId="3503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3752560992" sldId="3504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497367515" sldId="3505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2613137133" sldId="3506"/>
        </pc:sldMkLst>
      </pc:sldChg>
      <pc:sldChg chg="del">
        <pc:chgData name="Jon Christian Ottersen" userId="319dd709-9224-4f40-a9aa-4a008ebcaa5b" providerId="ADAL" clId="{839F9110-5948-4951-822F-4D1CFD19D47D}" dt="2023-03-28T13:17:36.110" v="0" actId="47"/>
        <pc:sldMkLst>
          <pc:docMk/>
          <pc:sldMk cId="4234916576" sldId="3507"/>
        </pc:sldMkLst>
      </pc:sldChg>
      <pc:sldChg chg="add">
        <pc:chgData name="Jon Christian Ottersen" userId="319dd709-9224-4f40-a9aa-4a008ebcaa5b" providerId="ADAL" clId="{839F9110-5948-4951-822F-4D1CFD19D47D}" dt="2023-03-28T13:23:23.526" v="259"/>
        <pc:sldMkLst>
          <pc:docMk/>
          <pc:sldMk cId="553185328" sldId="3941"/>
        </pc:sldMkLst>
      </pc:sldChg>
      <pc:sldChg chg="modSp del mod modNotesTx">
        <pc:chgData name="Jon Christian Ottersen" userId="319dd709-9224-4f40-a9aa-4a008ebcaa5b" providerId="ADAL" clId="{839F9110-5948-4951-822F-4D1CFD19D47D}" dt="2023-04-11T12:17:37.874" v="2180" actId="166"/>
        <pc:sldMkLst>
          <pc:docMk/>
          <pc:sldMk cId="2617677104" sldId="3991"/>
        </pc:sldMkLst>
        <pc:spChg chg="mod ord">
          <ac:chgData name="Jon Christian Ottersen" userId="319dd709-9224-4f40-a9aa-4a008ebcaa5b" providerId="ADAL" clId="{839F9110-5948-4951-822F-4D1CFD19D47D}" dt="2023-04-11T12:17:37.874" v="2180" actId="166"/>
          <ac:spMkLst>
            <pc:docMk/>
            <pc:sldMk cId="2617677104" sldId="3991"/>
            <ac:spMk id="12" creationId="{4B8CC30E-021A-6AC3-06D3-0FEA983C1944}"/>
          </ac:spMkLst>
        </pc:spChg>
      </pc:sldChg>
      <pc:sldChg chg="addSp delSp modSp new mod ord modClrScheme chgLayout">
        <pc:chgData name="Jon Christian Ottersen" userId="319dd709-9224-4f40-a9aa-4a008ebcaa5b" providerId="ADAL" clId="{839F9110-5948-4951-822F-4D1CFD19D47D}" dt="2023-03-28T13:20:56.523" v="205" actId="20577"/>
        <pc:sldMkLst>
          <pc:docMk/>
          <pc:sldMk cId="3876657706" sldId="3992"/>
        </pc:sldMkLst>
        <pc:spChg chg="mod ord">
          <ac:chgData name="Jon Christian Ottersen" userId="319dd709-9224-4f40-a9aa-4a008ebcaa5b" providerId="ADAL" clId="{839F9110-5948-4951-822F-4D1CFD19D47D}" dt="2023-03-28T13:20:41.729" v="159" actId="700"/>
          <ac:spMkLst>
            <pc:docMk/>
            <pc:sldMk cId="3876657706" sldId="3992"/>
            <ac:spMk id="2" creationId="{3B648134-2382-16A2-56E8-55A50A7CCEB6}"/>
          </ac:spMkLst>
        </pc:spChg>
        <pc:spChg chg="mod ord">
          <ac:chgData name="Jon Christian Ottersen" userId="319dd709-9224-4f40-a9aa-4a008ebcaa5b" providerId="ADAL" clId="{839F9110-5948-4951-822F-4D1CFD19D47D}" dt="2023-03-28T13:20:41.729" v="159" actId="700"/>
          <ac:spMkLst>
            <pc:docMk/>
            <pc:sldMk cId="3876657706" sldId="3992"/>
            <ac:spMk id="3" creationId="{33F7B2F4-AA1B-C041-E206-DAD8B655BCC6}"/>
          </ac:spMkLst>
        </pc:spChg>
        <pc:spChg chg="del mod ord">
          <ac:chgData name="Jon Christian Ottersen" userId="319dd709-9224-4f40-a9aa-4a008ebcaa5b" providerId="ADAL" clId="{839F9110-5948-4951-822F-4D1CFD19D47D}" dt="2023-03-28T13:20:41.729" v="159" actId="700"/>
          <ac:spMkLst>
            <pc:docMk/>
            <pc:sldMk cId="3876657706" sldId="3992"/>
            <ac:spMk id="4" creationId="{DA94A154-6D8F-E175-488D-67B938AEC8D2}"/>
          </ac:spMkLst>
        </pc:spChg>
        <pc:spChg chg="del mod ord">
          <ac:chgData name="Jon Christian Ottersen" userId="319dd709-9224-4f40-a9aa-4a008ebcaa5b" providerId="ADAL" clId="{839F9110-5948-4951-822F-4D1CFD19D47D}" dt="2023-03-28T13:20:41.729" v="159" actId="700"/>
          <ac:spMkLst>
            <pc:docMk/>
            <pc:sldMk cId="3876657706" sldId="3992"/>
            <ac:spMk id="5" creationId="{FEB02122-E263-7176-AF55-EEF2A1F5D066}"/>
          </ac:spMkLst>
        </pc:spChg>
        <pc:spChg chg="add mod ord">
          <ac:chgData name="Jon Christian Ottersen" userId="319dd709-9224-4f40-a9aa-4a008ebcaa5b" providerId="ADAL" clId="{839F9110-5948-4951-822F-4D1CFD19D47D}" dt="2023-03-28T13:20:56.523" v="205" actId="20577"/>
          <ac:spMkLst>
            <pc:docMk/>
            <pc:sldMk cId="3876657706" sldId="3992"/>
            <ac:spMk id="6" creationId="{ADA0FC8A-1DD7-04A9-845B-1832C2E4CFCD}"/>
          </ac:spMkLst>
        </pc:spChg>
        <pc:spChg chg="add mod ord">
          <ac:chgData name="Jon Christian Ottersen" userId="319dd709-9224-4f40-a9aa-4a008ebcaa5b" providerId="ADAL" clId="{839F9110-5948-4951-822F-4D1CFD19D47D}" dt="2023-03-28T13:20:41.729" v="159" actId="700"/>
          <ac:spMkLst>
            <pc:docMk/>
            <pc:sldMk cId="3876657706" sldId="3992"/>
            <ac:spMk id="7" creationId="{67E136DD-CD81-359A-11FB-919655B71B9B}"/>
          </ac:spMkLst>
        </pc:spChg>
        <pc:spChg chg="add mod ord">
          <ac:chgData name="Jon Christian Ottersen" userId="319dd709-9224-4f40-a9aa-4a008ebcaa5b" providerId="ADAL" clId="{839F9110-5948-4951-822F-4D1CFD19D47D}" dt="2023-03-28T13:20:41.729" v="159" actId="700"/>
          <ac:spMkLst>
            <pc:docMk/>
            <pc:sldMk cId="3876657706" sldId="3992"/>
            <ac:spMk id="8" creationId="{59D2215E-1E11-4DDD-A961-69114F80C666}"/>
          </ac:spMkLst>
        </pc:spChg>
        <pc:spChg chg="add mod ord">
          <ac:chgData name="Jon Christian Ottersen" userId="319dd709-9224-4f40-a9aa-4a008ebcaa5b" providerId="ADAL" clId="{839F9110-5948-4951-822F-4D1CFD19D47D}" dt="2023-03-28T13:20:41.729" v="159" actId="700"/>
          <ac:spMkLst>
            <pc:docMk/>
            <pc:sldMk cId="3876657706" sldId="3992"/>
            <ac:spMk id="9" creationId="{2CC9324D-0B35-AA0E-B0C7-7790ADED4588}"/>
          </ac:spMkLst>
        </pc:spChg>
      </pc:sldChg>
      <pc:sldChg chg="modSp add mod ord">
        <pc:chgData name="Jon Christian Ottersen" userId="319dd709-9224-4f40-a9aa-4a008ebcaa5b" providerId="ADAL" clId="{839F9110-5948-4951-822F-4D1CFD19D47D}" dt="2023-03-28T13:24:15.739" v="314" actId="20577"/>
        <pc:sldMkLst>
          <pc:docMk/>
          <pc:sldMk cId="4194233285" sldId="3993"/>
        </pc:sldMkLst>
        <pc:spChg chg="mod">
          <ac:chgData name="Jon Christian Ottersen" userId="319dd709-9224-4f40-a9aa-4a008ebcaa5b" providerId="ADAL" clId="{839F9110-5948-4951-822F-4D1CFD19D47D}" dt="2023-03-28T13:24:15.739" v="314" actId="20577"/>
          <ac:spMkLst>
            <pc:docMk/>
            <pc:sldMk cId="4194233285" sldId="3993"/>
            <ac:spMk id="6" creationId="{ADA0FC8A-1DD7-04A9-845B-1832C2E4CFCD}"/>
          </ac:spMkLst>
        </pc:spChg>
      </pc:sldChg>
      <pc:sldChg chg="addSp delSp modSp new del mod modClrScheme chgLayout">
        <pc:chgData name="Jon Christian Ottersen" userId="319dd709-9224-4f40-a9aa-4a008ebcaa5b" providerId="ADAL" clId="{839F9110-5948-4951-822F-4D1CFD19D47D}" dt="2023-03-28T13:23:25.479" v="260" actId="47"/>
        <pc:sldMkLst>
          <pc:docMk/>
          <pc:sldMk cId="2142321504" sldId="3994"/>
        </pc:sldMkLst>
        <pc:spChg chg="del">
          <ac:chgData name="Jon Christian Ottersen" userId="319dd709-9224-4f40-a9aa-4a008ebcaa5b" providerId="ADAL" clId="{839F9110-5948-4951-822F-4D1CFD19D47D}" dt="2023-03-28T13:22:14.293" v="258" actId="700"/>
          <ac:spMkLst>
            <pc:docMk/>
            <pc:sldMk cId="2142321504" sldId="3994"/>
            <ac:spMk id="2" creationId="{005688C3-E6F4-1403-77C0-77766CC967BC}"/>
          </ac:spMkLst>
        </pc:spChg>
        <pc:spChg chg="del">
          <ac:chgData name="Jon Christian Ottersen" userId="319dd709-9224-4f40-a9aa-4a008ebcaa5b" providerId="ADAL" clId="{839F9110-5948-4951-822F-4D1CFD19D47D}" dt="2023-03-28T13:22:14.293" v="258" actId="700"/>
          <ac:spMkLst>
            <pc:docMk/>
            <pc:sldMk cId="2142321504" sldId="3994"/>
            <ac:spMk id="3" creationId="{ABE2E940-5986-7A31-A6E3-25DF056DF13E}"/>
          </ac:spMkLst>
        </pc:spChg>
        <pc:spChg chg="mod ord">
          <ac:chgData name="Jon Christian Ottersen" userId="319dd709-9224-4f40-a9aa-4a008ebcaa5b" providerId="ADAL" clId="{839F9110-5948-4951-822F-4D1CFD19D47D}" dt="2023-03-28T13:22:14.293" v="258" actId="700"/>
          <ac:spMkLst>
            <pc:docMk/>
            <pc:sldMk cId="2142321504" sldId="3994"/>
            <ac:spMk id="4" creationId="{A3A5F548-923A-871E-25B1-923A532A4FFB}"/>
          </ac:spMkLst>
        </pc:spChg>
        <pc:spChg chg="mod ord">
          <ac:chgData name="Jon Christian Ottersen" userId="319dd709-9224-4f40-a9aa-4a008ebcaa5b" providerId="ADAL" clId="{839F9110-5948-4951-822F-4D1CFD19D47D}" dt="2023-03-28T13:22:14.293" v="258" actId="700"/>
          <ac:spMkLst>
            <pc:docMk/>
            <pc:sldMk cId="2142321504" sldId="3994"/>
            <ac:spMk id="5" creationId="{A3D24167-6CCE-88FD-6B16-EA0298A3629E}"/>
          </ac:spMkLst>
        </pc:spChg>
        <pc:spChg chg="del mod ord">
          <ac:chgData name="Jon Christian Ottersen" userId="319dd709-9224-4f40-a9aa-4a008ebcaa5b" providerId="ADAL" clId="{839F9110-5948-4951-822F-4D1CFD19D47D}" dt="2023-03-28T13:22:14.293" v="258" actId="700"/>
          <ac:spMkLst>
            <pc:docMk/>
            <pc:sldMk cId="2142321504" sldId="3994"/>
            <ac:spMk id="6" creationId="{4FDFD070-DD40-79F6-6B15-39CBB4B3646E}"/>
          </ac:spMkLst>
        </pc:spChg>
        <pc:spChg chg="del mod ord">
          <ac:chgData name="Jon Christian Ottersen" userId="319dd709-9224-4f40-a9aa-4a008ebcaa5b" providerId="ADAL" clId="{839F9110-5948-4951-822F-4D1CFD19D47D}" dt="2023-03-28T13:22:14.293" v="258" actId="700"/>
          <ac:spMkLst>
            <pc:docMk/>
            <pc:sldMk cId="2142321504" sldId="3994"/>
            <ac:spMk id="7" creationId="{C224F2EF-A030-72D8-EBBA-91A52E9F7CB8}"/>
          </ac:spMkLst>
        </pc:spChg>
        <pc:spChg chg="add mod ord">
          <ac:chgData name="Jon Christian Ottersen" userId="319dd709-9224-4f40-a9aa-4a008ebcaa5b" providerId="ADAL" clId="{839F9110-5948-4951-822F-4D1CFD19D47D}" dt="2023-03-28T13:22:14.293" v="258" actId="700"/>
          <ac:spMkLst>
            <pc:docMk/>
            <pc:sldMk cId="2142321504" sldId="3994"/>
            <ac:spMk id="8" creationId="{E7BA593D-F281-66D0-58DF-5C535DA1558A}"/>
          </ac:spMkLst>
        </pc:spChg>
        <pc:spChg chg="add mod ord">
          <ac:chgData name="Jon Christian Ottersen" userId="319dd709-9224-4f40-a9aa-4a008ebcaa5b" providerId="ADAL" clId="{839F9110-5948-4951-822F-4D1CFD19D47D}" dt="2023-03-28T13:22:14.293" v="258" actId="700"/>
          <ac:spMkLst>
            <pc:docMk/>
            <pc:sldMk cId="2142321504" sldId="3994"/>
            <ac:spMk id="9" creationId="{413EA7EC-EAC5-52C3-ED62-19711B673560}"/>
          </ac:spMkLst>
        </pc:spChg>
      </pc:sldChg>
      <pc:sldChg chg="add">
        <pc:chgData name="Jon Christian Ottersen" userId="319dd709-9224-4f40-a9aa-4a008ebcaa5b" providerId="ADAL" clId="{839F9110-5948-4951-822F-4D1CFD19D47D}" dt="2023-03-28T13:24:02.017" v="284" actId="2890"/>
        <pc:sldMkLst>
          <pc:docMk/>
          <pc:sldMk cId="3180449114" sldId="3994"/>
        </pc:sldMkLst>
      </pc:sldChg>
      <pc:sldChg chg="addSp delSp modSp new mod modClrScheme chgLayout">
        <pc:chgData name="Jon Christian Ottersen" userId="319dd709-9224-4f40-a9aa-4a008ebcaa5b" providerId="ADAL" clId="{839F9110-5948-4951-822F-4D1CFD19D47D}" dt="2023-04-11T13:11:32.782" v="2922" actId="20577"/>
        <pc:sldMkLst>
          <pc:docMk/>
          <pc:sldMk cId="3124105667" sldId="3995"/>
        </pc:sldMkLst>
        <pc:spChg chg="del">
          <ac:chgData name="Jon Christian Ottersen" userId="319dd709-9224-4f40-a9aa-4a008ebcaa5b" providerId="ADAL" clId="{839F9110-5948-4951-822F-4D1CFD19D47D}" dt="2023-03-28T13:24:27.242" v="316" actId="700"/>
          <ac:spMkLst>
            <pc:docMk/>
            <pc:sldMk cId="3124105667" sldId="3995"/>
            <ac:spMk id="2" creationId="{6C641C3E-245A-1FA2-3CAE-459A1B7629B0}"/>
          </ac:spMkLst>
        </pc:spChg>
        <pc:spChg chg="del">
          <ac:chgData name="Jon Christian Ottersen" userId="319dd709-9224-4f40-a9aa-4a008ebcaa5b" providerId="ADAL" clId="{839F9110-5948-4951-822F-4D1CFD19D47D}" dt="2023-03-28T13:24:27.242" v="316" actId="700"/>
          <ac:spMkLst>
            <pc:docMk/>
            <pc:sldMk cId="3124105667" sldId="3995"/>
            <ac:spMk id="3" creationId="{7BAF5A54-5771-286F-E9D9-0F99AD8521AB}"/>
          </ac:spMkLst>
        </pc:spChg>
        <pc:spChg chg="mod ord">
          <ac:chgData name="Jon Christian Ottersen" userId="319dd709-9224-4f40-a9aa-4a008ebcaa5b" providerId="ADAL" clId="{839F9110-5948-4951-822F-4D1CFD19D47D}" dt="2023-03-28T13:24:27.242" v="316" actId="700"/>
          <ac:spMkLst>
            <pc:docMk/>
            <pc:sldMk cId="3124105667" sldId="3995"/>
            <ac:spMk id="4" creationId="{E2170E42-3FF9-2131-2679-39871A1FE0F2}"/>
          </ac:spMkLst>
        </pc:spChg>
        <pc:spChg chg="mod ord">
          <ac:chgData name="Jon Christian Ottersen" userId="319dd709-9224-4f40-a9aa-4a008ebcaa5b" providerId="ADAL" clId="{839F9110-5948-4951-822F-4D1CFD19D47D}" dt="2023-03-28T13:24:27.242" v="316" actId="700"/>
          <ac:spMkLst>
            <pc:docMk/>
            <pc:sldMk cId="3124105667" sldId="3995"/>
            <ac:spMk id="5" creationId="{2F36C6AE-DEB7-E60D-DC5B-0B77EA77B92E}"/>
          </ac:spMkLst>
        </pc:spChg>
        <pc:spChg chg="del mod ord">
          <ac:chgData name="Jon Christian Ottersen" userId="319dd709-9224-4f40-a9aa-4a008ebcaa5b" providerId="ADAL" clId="{839F9110-5948-4951-822F-4D1CFD19D47D}" dt="2023-03-28T13:24:27.242" v="316" actId="700"/>
          <ac:spMkLst>
            <pc:docMk/>
            <pc:sldMk cId="3124105667" sldId="3995"/>
            <ac:spMk id="6" creationId="{5E4CB54C-20B2-BEED-C9D4-6318CC3B1C92}"/>
          </ac:spMkLst>
        </pc:spChg>
        <pc:spChg chg="del mod ord">
          <ac:chgData name="Jon Christian Ottersen" userId="319dd709-9224-4f40-a9aa-4a008ebcaa5b" providerId="ADAL" clId="{839F9110-5948-4951-822F-4D1CFD19D47D}" dt="2023-03-28T13:24:27.242" v="316" actId="700"/>
          <ac:spMkLst>
            <pc:docMk/>
            <pc:sldMk cId="3124105667" sldId="3995"/>
            <ac:spMk id="7" creationId="{65B59619-1687-3D82-0DD2-7EC712DC47CF}"/>
          </ac:spMkLst>
        </pc:spChg>
        <pc:spChg chg="add mod ord">
          <ac:chgData name="Jon Christian Ottersen" userId="319dd709-9224-4f40-a9aa-4a008ebcaa5b" providerId="ADAL" clId="{839F9110-5948-4951-822F-4D1CFD19D47D}" dt="2023-03-28T13:24:27.242" v="316" actId="700"/>
          <ac:spMkLst>
            <pc:docMk/>
            <pc:sldMk cId="3124105667" sldId="3995"/>
            <ac:spMk id="8" creationId="{BD3D014B-EAF2-C288-FEB0-DF6A0CC8DDB4}"/>
          </ac:spMkLst>
        </pc:spChg>
        <pc:spChg chg="add mod ord">
          <ac:chgData name="Jon Christian Ottersen" userId="319dd709-9224-4f40-a9aa-4a008ebcaa5b" providerId="ADAL" clId="{839F9110-5948-4951-822F-4D1CFD19D47D}" dt="2023-04-11T13:11:32.782" v="2922" actId="20577"/>
          <ac:spMkLst>
            <pc:docMk/>
            <pc:sldMk cId="3124105667" sldId="3995"/>
            <ac:spMk id="9" creationId="{AFDAEF88-F0DD-3644-D5BE-CD6C87848A1E}"/>
          </ac:spMkLst>
        </pc:spChg>
      </pc:sldChg>
      <pc:sldChg chg="delSp modSp mod modNotesTx">
        <pc:chgData name="Jon Christian Ottersen" userId="319dd709-9224-4f40-a9aa-4a008ebcaa5b" providerId="ADAL" clId="{839F9110-5948-4951-822F-4D1CFD19D47D}" dt="2023-04-11T13:29:56.567" v="2997" actId="14100"/>
        <pc:sldMkLst>
          <pc:docMk/>
          <pc:sldMk cId="1539970819" sldId="3996"/>
        </pc:sldMkLst>
        <pc:spChg chg="del">
          <ac:chgData name="Jon Christian Ottersen" userId="319dd709-9224-4f40-a9aa-4a008ebcaa5b" providerId="ADAL" clId="{839F9110-5948-4951-822F-4D1CFD19D47D}" dt="2023-04-11T10:49:16.900" v="1824" actId="478"/>
          <ac:spMkLst>
            <pc:docMk/>
            <pc:sldMk cId="1539970819" sldId="3996"/>
            <ac:spMk id="2" creationId="{82087858-8A0A-B420-68CB-8D68F2ED8228}"/>
          </ac:spMkLst>
        </pc:spChg>
        <pc:spChg chg="del">
          <ac:chgData name="Jon Christian Ottersen" userId="319dd709-9224-4f40-a9aa-4a008ebcaa5b" providerId="ADAL" clId="{839F9110-5948-4951-822F-4D1CFD19D47D}" dt="2023-04-11T12:55:01.517" v="2832" actId="478"/>
          <ac:spMkLst>
            <pc:docMk/>
            <pc:sldMk cId="1539970819" sldId="3996"/>
            <ac:spMk id="3" creationId="{DD0066F4-A950-BE61-C7FB-E8E9E153722A}"/>
          </ac:spMkLst>
        </pc:spChg>
        <pc:spChg chg="mod">
          <ac:chgData name="Jon Christian Ottersen" userId="319dd709-9224-4f40-a9aa-4a008ebcaa5b" providerId="ADAL" clId="{839F9110-5948-4951-822F-4D1CFD19D47D}" dt="2023-04-11T12:39:12.679" v="2509" actId="20577"/>
          <ac:spMkLst>
            <pc:docMk/>
            <pc:sldMk cId="1539970819" sldId="3996"/>
            <ac:spMk id="4" creationId="{5281B849-D3AB-F622-1F87-9B795E58B6B9}"/>
          </ac:spMkLst>
        </pc:spChg>
        <pc:spChg chg="mod">
          <ac:chgData name="Jon Christian Ottersen" userId="319dd709-9224-4f40-a9aa-4a008ebcaa5b" providerId="ADAL" clId="{839F9110-5948-4951-822F-4D1CFD19D47D}" dt="2023-04-11T13:15:11.807" v="2928" actId="3064"/>
          <ac:spMkLst>
            <pc:docMk/>
            <pc:sldMk cId="1539970819" sldId="3996"/>
            <ac:spMk id="5" creationId="{45C11E42-719E-8A79-888E-5936238A3BC8}"/>
          </ac:spMkLst>
        </pc:spChg>
        <pc:spChg chg="mod">
          <ac:chgData name="Jon Christian Ottersen" userId="319dd709-9224-4f40-a9aa-4a008ebcaa5b" providerId="ADAL" clId="{839F9110-5948-4951-822F-4D1CFD19D47D}" dt="2023-04-11T13:26:54.955" v="2995" actId="20577"/>
          <ac:spMkLst>
            <pc:docMk/>
            <pc:sldMk cId="1539970819" sldId="3996"/>
            <ac:spMk id="6" creationId="{6C32D995-1482-4358-B357-36AB6A2EE0BC}"/>
          </ac:spMkLst>
        </pc:spChg>
        <pc:spChg chg="mod">
          <ac:chgData name="Jon Christian Ottersen" userId="319dd709-9224-4f40-a9aa-4a008ebcaa5b" providerId="ADAL" clId="{839F9110-5948-4951-822F-4D1CFD19D47D}" dt="2023-04-11T13:29:56.567" v="2997" actId="14100"/>
          <ac:spMkLst>
            <pc:docMk/>
            <pc:sldMk cId="1539970819" sldId="3996"/>
            <ac:spMk id="7" creationId="{67AAF2F0-6F8F-EC1B-40FD-D7A4BC7B8EC8}"/>
          </ac:spMkLst>
        </pc:spChg>
        <pc:spChg chg="mod ord">
          <ac:chgData name="Jon Christian Ottersen" userId="319dd709-9224-4f40-a9aa-4a008ebcaa5b" providerId="ADAL" clId="{839F9110-5948-4951-822F-4D1CFD19D47D}" dt="2023-04-11T12:58:03.248" v="2858" actId="14100"/>
          <ac:spMkLst>
            <pc:docMk/>
            <pc:sldMk cId="1539970819" sldId="3996"/>
            <ac:spMk id="8" creationId="{EE252B69-2C44-7AC3-5434-9E144797BE6D}"/>
          </ac:spMkLst>
        </pc:spChg>
      </pc:sldChg>
      <pc:sldChg chg="ord">
        <pc:chgData name="Jon Christian Ottersen" userId="319dd709-9224-4f40-a9aa-4a008ebcaa5b" providerId="ADAL" clId="{839F9110-5948-4951-822F-4D1CFD19D47D}" dt="2023-04-11T10:14:11.540" v="1817"/>
        <pc:sldMkLst>
          <pc:docMk/>
          <pc:sldMk cId="3559593138" sldId="4004"/>
        </pc:sldMkLst>
      </pc:sldChg>
      <pc:sldMasterChg chg="delSldLayout">
        <pc:chgData name="Jon Christian Ottersen" userId="319dd709-9224-4f40-a9aa-4a008ebcaa5b" providerId="ADAL" clId="{839F9110-5948-4951-822F-4D1CFD19D47D}" dt="2023-03-28T13:17:36.110" v="0" actId="47"/>
        <pc:sldMasterMkLst>
          <pc:docMk/>
          <pc:sldMasterMk cId="2069396980" sldId="2147483786"/>
        </pc:sldMasterMkLst>
        <pc:sldLayoutChg chg="del">
          <pc:chgData name="Jon Christian Ottersen" userId="319dd709-9224-4f40-a9aa-4a008ebcaa5b" providerId="ADAL" clId="{839F9110-5948-4951-822F-4D1CFD19D47D}" dt="2023-03-28T13:17:36.110" v="0" actId="47"/>
          <pc:sldLayoutMkLst>
            <pc:docMk/>
            <pc:sldMasterMk cId="2069396980" sldId="2147483786"/>
            <pc:sldLayoutMk cId="4131261695" sldId="2147483798"/>
          </pc:sldLayoutMkLst>
        </pc:sldLayoutChg>
        <pc:sldLayoutChg chg="del">
          <pc:chgData name="Jon Christian Ottersen" userId="319dd709-9224-4f40-a9aa-4a008ebcaa5b" providerId="ADAL" clId="{839F9110-5948-4951-822F-4D1CFD19D47D}" dt="2023-03-28T13:17:36.110" v="0" actId="47"/>
          <pc:sldLayoutMkLst>
            <pc:docMk/>
            <pc:sldMasterMk cId="2069396980" sldId="2147483786"/>
            <pc:sldLayoutMk cId="2700545271" sldId="2147483799"/>
          </pc:sldLayoutMkLst>
        </pc:sldLayoutChg>
      </pc:sldMasterChg>
      <pc:sldMasterChg chg="delSldLayout">
        <pc:chgData name="Jon Christian Ottersen" userId="319dd709-9224-4f40-a9aa-4a008ebcaa5b" providerId="ADAL" clId="{839F9110-5948-4951-822F-4D1CFD19D47D}" dt="2023-03-28T13:17:36.110" v="0" actId="47"/>
        <pc:sldMasterMkLst>
          <pc:docMk/>
          <pc:sldMasterMk cId="3392286848" sldId="2147483826"/>
        </pc:sldMasterMkLst>
        <pc:sldLayoutChg chg="del">
          <pc:chgData name="Jon Christian Ottersen" userId="319dd709-9224-4f40-a9aa-4a008ebcaa5b" providerId="ADAL" clId="{839F9110-5948-4951-822F-4D1CFD19D47D}" dt="2023-03-28T13:17:36.110" v="0" actId="47"/>
          <pc:sldLayoutMkLst>
            <pc:docMk/>
            <pc:sldMasterMk cId="3392286848" sldId="2147483826"/>
            <pc:sldLayoutMk cId="1738320897" sldId="2147483796"/>
          </pc:sldLayoutMkLst>
        </pc:sldLayoutChg>
      </pc:sldMasterChg>
    </pc:docChg>
  </pc:docChgLst>
  <pc:docChgLst>
    <pc:chgData name="Marthine Hveem" userId="S::marthia@uio.no::bd15b4ff-3af1-42b3-ab35-55fc5267a916" providerId="AD" clId="Web-{13CE08A6-58A1-474E-BBD6-28EB2FC94B9D}"/>
    <pc:docChg chg="modSld">
      <pc:chgData name="Marthine Hveem" userId="S::marthia@uio.no::bd15b4ff-3af1-42b3-ab35-55fc5267a916" providerId="AD" clId="Web-{13CE08A6-58A1-474E-BBD6-28EB2FC94B9D}" dt="2023-03-28T13:44:29.790" v="602" actId="14100"/>
      <pc:docMkLst>
        <pc:docMk/>
      </pc:docMkLst>
      <pc:sldChg chg="modSp">
        <pc:chgData name="Marthine Hveem" userId="S::marthia@uio.no::bd15b4ff-3af1-42b3-ab35-55fc5267a916" providerId="AD" clId="Web-{13CE08A6-58A1-474E-BBD6-28EB2FC94B9D}" dt="2023-03-28T13:43:51.555" v="601" actId="20577"/>
        <pc:sldMkLst>
          <pc:docMk/>
          <pc:sldMk cId="553185328" sldId="3941"/>
        </pc:sldMkLst>
        <pc:graphicFrameChg chg="modGraphic">
          <ac:chgData name="Marthine Hveem" userId="S::marthia@uio.no::bd15b4ff-3af1-42b3-ab35-55fc5267a916" providerId="AD" clId="Web-{13CE08A6-58A1-474E-BBD6-28EB2FC94B9D}" dt="2023-03-28T13:43:51.555" v="601" actId="20577"/>
          <ac:graphicFrameMkLst>
            <pc:docMk/>
            <pc:sldMk cId="553185328" sldId="3941"/>
            <ac:graphicFrameMk id="7" creationId="{F480E56C-C8E9-3A2B-042D-4199FB6D1CAC}"/>
          </ac:graphicFrameMkLst>
        </pc:graphicFrameChg>
      </pc:sldChg>
      <pc:sldChg chg="modSp">
        <pc:chgData name="Marthine Hveem" userId="S::marthia@uio.no::bd15b4ff-3af1-42b3-ab35-55fc5267a916" providerId="AD" clId="Web-{13CE08A6-58A1-474E-BBD6-28EB2FC94B9D}" dt="2023-03-28T13:44:29.790" v="602" actId="14100"/>
        <pc:sldMkLst>
          <pc:docMk/>
          <pc:sldMk cId="2617677104" sldId="3991"/>
        </pc:sldMkLst>
        <pc:spChg chg="mod">
          <ac:chgData name="Marthine Hveem" userId="S::marthia@uio.no::bd15b4ff-3af1-42b3-ab35-55fc5267a916" providerId="AD" clId="Web-{13CE08A6-58A1-474E-BBD6-28EB2FC94B9D}" dt="2023-03-28T13:44:29.790" v="602" actId="14100"/>
          <ac:spMkLst>
            <pc:docMk/>
            <pc:sldMk cId="2617677104" sldId="3991"/>
            <ac:spMk id="9" creationId="{CA1FEF49-1F26-AB8A-8242-3D7C5FE39880}"/>
          </ac:spMkLst>
        </pc:spChg>
      </pc:sldChg>
    </pc:docChg>
  </pc:docChgLst>
  <pc:docChgLst>
    <pc:chgData name="Jon Christian Ottersen" userId="319dd709-9224-4f40-a9aa-4a008ebcaa5b" providerId="ADAL" clId="{269C1392-6ED5-47D7-A0DD-B8AD542103AF}"/>
    <pc:docChg chg="undo redo custSel addSld delSld modSld sldOrd modMainMaster">
      <pc:chgData name="Jon Christian Ottersen" userId="319dd709-9224-4f40-a9aa-4a008ebcaa5b" providerId="ADAL" clId="{269C1392-6ED5-47D7-A0DD-B8AD542103AF}" dt="2023-04-12T08:48:33.794" v="8202" actId="207"/>
      <pc:docMkLst>
        <pc:docMk/>
      </pc:docMkLst>
      <pc:sldChg chg="addSp delSp modSp mod modClrScheme chgLayout">
        <pc:chgData name="Jon Christian Ottersen" userId="319dd709-9224-4f40-a9aa-4a008ebcaa5b" providerId="ADAL" clId="{269C1392-6ED5-47D7-A0DD-B8AD542103AF}" dt="2023-03-29T16:42:02.758" v="1841" actId="700"/>
        <pc:sldMkLst>
          <pc:docMk/>
          <pc:sldMk cId="1548007822" sldId="256"/>
        </pc:sldMkLst>
        <pc:spChg chg="add del mod ord">
          <ac:chgData name="Jon Christian Ottersen" userId="319dd709-9224-4f40-a9aa-4a008ebcaa5b" providerId="ADAL" clId="{269C1392-6ED5-47D7-A0DD-B8AD542103AF}" dt="2023-03-29T16:42:02.758" v="1841" actId="700"/>
          <ac:spMkLst>
            <pc:docMk/>
            <pc:sldMk cId="1548007822" sldId="256"/>
            <ac:spMk id="2" creationId="{77D2CD7A-C840-40F7-A393-111D41DF6940}"/>
          </ac:spMkLst>
        </pc:spChg>
        <pc:spChg chg="add del mod ord">
          <ac:chgData name="Jon Christian Ottersen" userId="319dd709-9224-4f40-a9aa-4a008ebcaa5b" providerId="ADAL" clId="{269C1392-6ED5-47D7-A0DD-B8AD542103AF}" dt="2023-03-29T16:42:02.758" v="1841" actId="700"/>
          <ac:spMkLst>
            <pc:docMk/>
            <pc:sldMk cId="1548007822" sldId="256"/>
            <ac:spMk id="3" creationId="{F5791184-9217-400C-91DE-8FEBD3D074BD}"/>
          </ac:spMkLst>
        </pc:spChg>
        <pc:spChg chg="mod ord">
          <ac:chgData name="Jon Christian Ottersen" userId="319dd709-9224-4f40-a9aa-4a008ebcaa5b" providerId="ADAL" clId="{269C1392-6ED5-47D7-A0DD-B8AD542103AF}" dt="2023-03-29T16:42:02.758" v="1841" actId="700"/>
          <ac:spMkLst>
            <pc:docMk/>
            <pc:sldMk cId="1548007822" sldId="256"/>
            <ac:spMk id="4" creationId="{D2679736-DC89-4B1F-8650-FF9FFF390E02}"/>
          </ac:spMkLst>
        </pc:spChg>
        <pc:spChg chg="add del mod ord">
          <ac:chgData name="Jon Christian Ottersen" userId="319dd709-9224-4f40-a9aa-4a008ebcaa5b" providerId="ADAL" clId="{269C1392-6ED5-47D7-A0DD-B8AD542103AF}" dt="2023-03-29T16:33:05.106" v="1754" actId="700"/>
          <ac:spMkLst>
            <pc:docMk/>
            <pc:sldMk cId="1548007822" sldId="256"/>
            <ac:spMk id="5" creationId="{8972A7D1-692B-B9B6-EA7F-70FBFD815DEA}"/>
          </ac:spMkLst>
        </pc:spChg>
        <pc:spChg chg="add del mod ord">
          <ac:chgData name="Jon Christian Ottersen" userId="319dd709-9224-4f40-a9aa-4a008ebcaa5b" providerId="ADAL" clId="{269C1392-6ED5-47D7-A0DD-B8AD542103AF}" dt="2023-03-29T16:33:05.106" v="1754" actId="700"/>
          <ac:spMkLst>
            <pc:docMk/>
            <pc:sldMk cId="1548007822" sldId="256"/>
            <ac:spMk id="6" creationId="{7B5E661E-7D17-C172-52F0-143D48338463}"/>
          </ac:spMkLst>
        </pc:spChg>
        <pc:spChg chg="add del mod ord">
          <ac:chgData name="Jon Christian Ottersen" userId="319dd709-9224-4f40-a9aa-4a008ebcaa5b" providerId="ADAL" clId="{269C1392-6ED5-47D7-A0DD-B8AD542103AF}" dt="2023-03-29T16:33:05.106" v="1754" actId="700"/>
          <ac:spMkLst>
            <pc:docMk/>
            <pc:sldMk cId="1548007822" sldId="256"/>
            <ac:spMk id="7" creationId="{8D221376-EAC7-F249-39D1-D6350820D8E9}"/>
          </ac:spMkLst>
        </pc:spChg>
        <pc:spChg chg="add del mod ord">
          <ac:chgData name="Jon Christian Ottersen" userId="319dd709-9224-4f40-a9aa-4a008ebcaa5b" providerId="ADAL" clId="{269C1392-6ED5-47D7-A0DD-B8AD542103AF}" dt="2023-03-29T16:33:05.106" v="1754" actId="700"/>
          <ac:spMkLst>
            <pc:docMk/>
            <pc:sldMk cId="1548007822" sldId="256"/>
            <ac:spMk id="8" creationId="{ECA6D046-BAA2-45B5-9775-BC3DFEF86105}"/>
          </ac:spMkLst>
        </pc:spChg>
        <pc:spChg chg="add del mod ord">
          <ac:chgData name="Jon Christian Ottersen" userId="319dd709-9224-4f40-a9aa-4a008ebcaa5b" providerId="ADAL" clId="{269C1392-6ED5-47D7-A0DD-B8AD542103AF}" dt="2023-03-29T16:42:02.758" v="1841" actId="700"/>
          <ac:spMkLst>
            <pc:docMk/>
            <pc:sldMk cId="1548007822" sldId="256"/>
            <ac:spMk id="9" creationId="{4F4BA9C2-BF4A-4349-B82C-9534A1E28788}"/>
          </ac:spMkLst>
        </pc:spChg>
        <pc:spChg chg="mod ord">
          <ac:chgData name="Jon Christian Ottersen" userId="319dd709-9224-4f40-a9aa-4a008ebcaa5b" providerId="ADAL" clId="{269C1392-6ED5-47D7-A0DD-B8AD542103AF}" dt="2023-03-29T16:42:02.758" v="1841" actId="700"/>
          <ac:spMkLst>
            <pc:docMk/>
            <pc:sldMk cId="1548007822" sldId="256"/>
            <ac:spMk id="10" creationId="{4AFE9AF5-7631-4B23-B1BD-7C05287A0EBC}"/>
          </ac:spMkLst>
        </pc:spChg>
        <pc:spChg chg="add del mod ord">
          <ac:chgData name="Jon Christian Ottersen" userId="319dd709-9224-4f40-a9aa-4a008ebcaa5b" providerId="ADAL" clId="{269C1392-6ED5-47D7-A0DD-B8AD542103AF}" dt="2023-03-29T16:33:05.106" v="1754" actId="700"/>
          <ac:spMkLst>
            <pc:docMk/>
            <pc:sldMk cId="1548007822" sldId="256"/>
            <ac:spMk id="11" creationId="{301A75FB-55BF-BC1B-7ABA-7829B18C924A}"/>
          </ac:spMkLst>
        </pc:spChg>
        <pc:spChg chg="add del mod ord">
          <ac:chgData name="Jon Christian Ottersen" userId="319dd709-9224-4f40-a9aa-4a008ebcaa5b" providerId="ADAL" clId="{269C1392-6ED5-47D7-A0DD-B8AD542103AF}" dt="2023-03-29T16:33:05.106" v="1754" actId="700"/>
          <ac:spMkLst>
            <pc:docMk/>
            <pc:sldMk cId="1548007822" sldId="256"/>
            <ac:spMk id="12" creationId="{1D37F2BE-6F7A-CBD1-EB55-C42228EA2DD6}"/>
          </ac:spMkLst>
        </pc:spChg>
        <pc:spChg chg="add del mod ord">
          <ac:chgData name="Jon Christian Ottersen" userId="319dd709-9224-4f40-a9aa-4a008ebcaa5b" providerId="ADAL" clId="{269C1392-6ED5-47D7-A0DD-B8AD542103AF}" dt="2023-03-29T16:42:02.758" v="1841" actId="700"/>
          <ac:spMkLst>
            <pc:docMk/>
            <pc:sldMk cId="1548007822" sldId="256"/>
            <ac:spMk id="13" creationId="{5440A4BE-A1E7-C24D-33AD-26462EF4C464}"/>
          </ac:spMkLst>
        </pc:spChg>
        <pc:spChg chg="add del mod ord">
          <ac:chgData name="Jon Christian Ottersen" userId="319dd709-9224-4f40-a9aa-4a008ebcaa5b" providerId="ADAL" clId="{269C1392-6ED5-47D7-A0DD-B8AD542103AF}" dt="2023-03-29T16:42:02.758" v="1841" actId="700"/>
          <ac:spMkLst>
            <pc:docMk/>
            <pc:sldMk cId="1548007822" sldId="256"/>
            <ac:spMk id="14" creationId="{EEC88585-B78D-0E09-007A-DE7849ECB91B}"/>
          </ac:spMkLst>
        </pc:spChg>
        <pc:spChg chg="add del mod ord">
          <ac:chgData name="Jon Christian Ottersen" userId="319dd709-9224-4f40-a9aa-4a008ebcaa5b" providerId="ADAL" clId="{269C1392-6ED5-47D7-A0DD-B8AD542103AF}" dt="2023-03-29T16:42:02.758" v="1841" actId="700"/>
          <ac:spMkLst>
            <pc:docMk/>
            <pc:sldMk cId="1548007822" sldId="256"/>
            <ac:spMk id="15" creationId="{62538075-359F-9862-D457-AB9E23B4CE92}"/>
          </ac:spMkLst>
        </pc:spChg>
        <pc:spChg chg="add del mod ord">
          <ac:chgData name="Jon Christian Ottersen" userId="319dd709-9224-4f40-a9aa-4a008ebcaa5b" providerId="ADAL" clId="{269C1392-6ED5-47D7-A0DD-B8AD542103AF}" dt="2023-03-29T16:42:02.758" v="1841" actId="700"/>
          <ac:spMkLst>
            <pc:docMk/>
            <pc:sldMk cId="1548007822" sldId="256"/>
            <ac:spMk id="16" creationId="{8209F218-B848-1CA2-3459-01623AB9BB0B}"/>
          </ac:spMkLst>
        </pc:spChg>
        <pc:spChg chg="add del mod ord">
          <ac:chgData name="Jon Christian Ottersen" userId="319dd709-9224-4f40-a9aa-4a008ebcaa5b" providerId="ADAL" clId="{269C1392-6ED5-47D7-A0DD-B8AD542103AF}" dt="2023-03-29T16:42:02.758" v="1841" actId="700"/>
          <ac:spMkLst>
            <pc:docMk/>
            <pc:sldMk cId="1548007822" sldId="256"/>
            <ac:spMk id="17" creationId="{AD8402DA-BAE6-DA1D-4010-F4EB8E8D93B6}"/>
          </ac:spMkLst>
        </pc:spChg>
        <pc:spChg chg="add del mod ord">
          <ac:chgData name="Jon Christian Ottersen" userId="319dd709-9224-4f40-a9aa-4a008ebcaa5b" providerId="ADAL" clId="{269C1392-6ED5-47D7-A0DD-B8AD542103AF}" dt="2023-03-29T16:42:02.758" v="1841" actId="700"/>
          <ac:spMkLst>
            <pc:docMk/>
            <pc:sldMk cId="1548007822" sldId="256"/>
            <ac:spMk id="18" creationId="{C3552EB6-0E22-89DA-7AC0-42656ACF8B34}"/>
          </ac:spMkLst>
        </pc:spChg>
        <pc:spChg chg="add del mod ord">
          <ac:chgData name="Jon Christian Ottersen" userId="319dd709-9224-4f40-a9aa-4a008ebcaa5b" providerId="ADAL" clId="{269C1392-6ED5-47D7-A0DD-B8AD542103AF}" dt="2023-03-29T16:42:02.758" v="1841" actId="700"/>
          <ac:spMkLst>
            <pc:docMk/>
            <pc:sldMk cId="1548007822" sldId="256"/>
            <ac:spMk id="19" creationId="{2C950F36-F225-898B-14D0-EC41662889DF}"/>
          </ac:spMkLst>
        </pc:spChg>
      </pc:sldChg>
      <pc:sldChg chg="modSp mod">
        <pc:chgData name="Jon Christian Ottersen" userId="319dd709-9224-4f40-a9aa-4a008ebcaa5b" providerId="ADAL" clId="{269C1392-6ED5-47D7-A0DD-B8AD542103AF}" dt="2023-04-11T19:40:51.881" v="7045" actId="20577"/>
        <pc:sldMkLst>
          <pc:docMk/>
          <pc:sldMk cId="4080940158" sldId="781"/>
        </pc:sldMkLst>
        <pc:spChg chg="mod">
          <ac:chgData name="Jon Christian Ottersen" userId="319dd709-9224-4f40-a9aa-4a008ebcaa5b" providerId="ADAL" clId="{269C1392-6ED5-47D7-A0DD-B8AD542103AF}" dt="2023-04-11T19:40:51.881" v="7045" actId="20577"/>
          <ac:spMkLst>
            <pc:docMk/>
            <pc:sldMk cId="4080940158" sldId="781"/>
            <ac:spMk id="3" creationId="{A4B63BBB-7669-4F07-8E7A-85307397D92E}"/>
          </ac:spMkLst>
        </pc:spChg>
      </pc:sldChg>
      <pc:sldChg chg="addSp modSp mod">
        <pc:chgData name="Jon Christian Ottersen" userId="319dd709-9224-4f40-a9aa-4a008ebcaa5b" providerId="ADAL" clId="{269C1392-6ED5-47D7-A0DD-B8AD542103AF}" dt="2023-04-12T08:46:53.256" v="8191" actId="113"/>
        <pc:sldMkLst>
          <pc:docMk/>
          <pc:sldMk cId="2775232953" sldId="874"/>
        </pc:sldMkLst>
        <pc:spChg chg="add mod">
          <ac:chgData name="Jon Christian Ottersen" userId="319dd709-9224-4f40-a9aa-4a008ebcaa5b" providerId="ADAL" clId="{269C1392-6ED5-47D7-A0DD-B8AD542103AF}" dt="2023-04-12T08:46:53.256" v="8191" actId="113"/>
          <ac:spMkLst>
            <pc:docMk/>
            <pc:sldMk cId="2775232953" sldId="874"/>
            <ac:spMk id="2" creationId="{D0D8AEAC-A010-00D1-391E-A3867BCF60C9}"/>
          </ac:spMkLst>
        </pc:spChg>
      </pc:sldChg>
      <pc:sldChg chg="addSp delSp modSp mod">
        <pc:chgData name="Jon Christian Ottersen" userId="319dd709-9224-4f40-a9aa-4a008ebcaa5b" providerId="ADAL" clId="{269C1392-6ED5-47D7-A0DD-B8AD542103AF}" dt="2023-04-12T08:48:33.794" v="8202" actId="207"/>
        <pc:sldMkLst>
          <pc:docMk/>
          <pc:sldMk cId="1997111579" sldId="984"/>
        </pc:sldMkLst>
        <pc:spChg chg="add del">
          <ac:chgData name="Jon Christian Ottersen" userId="319dd709-9224-4f40-a9aa-4a008ebcaa5b" providerId="ADAL" clId="{269C1392-6ED5-47D7-A0DD-B8AD542103AF}" dt="2023-03-29T16:51:07.687" v="2117" actId="478"/>
          <ac:spMkLst>
            <pc:docMk/>
            <pc:sldMk cId="1997111579" sldId="984"/>
            <ac:spMk id="2" creationId="{90DCB138-502D-4AD4-973F-9CF7A2655D91}"/>
          </ac:spMkLst>
        </pc:spChg>
        <pc:spChg chg="del">
          <ac:chgData name="Jon Christian Ottersen" userId="319dd709-9224-4f40-a9aa-4a008ebcaa5b" providerId="ADAL" clId="{269C1392-6ED5-47D7-A0DD-B8AD542103AF}" dt="2023-03-29T16:51:09.547" v="2118" actId="478"/>
          <ac:spMkLst>
            <pc:docMk/>
            <pc:sldMk cId="1997111579" sldId="984"/>
            <ac:spMk id="3" creationId="{DCE10C51-E40F-444B-AC16-A3D5EC55259E}"/>
          </ac:spMkLst>
        </pc:spChg>
        <pc:spChg chg="add mod">
          <ac:chgData name="Jon Christian Ottersen" userId="319dd709-9224-4f40-a9aa-4a008ebcaa5b" providerId="ADAL" clId="{269C1392-6ED5-47D7-A0DD-B8AD542103AF}" dt="2023-04-12T08:48:33.794" v="8202" actId="207"/>
          <ac:spMkLst>
            <pc:docMk/>
            <pc:sldMk cId="1997111579" sldId="984"/>
            <ac:spMk id="4" creationId="{A05AA3B1-5A67-EDC8-6C55-26092DEEC715}"/>
          </ac:spMkLst>
        </pc:spChg>
        <pc:spChg chg="mod">
          <ac:chgData name="Jon Christian Ottersen" userId="319dd709-9224-4f40-a9aa-4a008ebcaa5b" providerId="ADAL" clId="{269C1392-6ED5-47D7-A0DD-B8AD542103AF}" dt="2023-04-12T08:40:49.091" v="8010" actId="1076"/>
          <ac:spMkLst>
            <pc:docMk/>
            <pc:sldMk cId="1997111579" sldId="984"/>
            <ac:spMk id="6" creationId="{3C66D199-D730-4F9D-8B44-6B60D0ACE054}"/>
          </ac:spMkLst>
        </pc:spChg>
        <pc:spChg chg="add mod">
          <ac:chgData name="Jon Christian Ottersen" userId="319dd709-9224-4f40-a9aa-4a008ebcaa5b" providerId="ADAL" clId="{269C1392-6ED5-47D7-A0DD-B8AD542103AF}" dt="2023-04-12T08:48:33.794" v="8202" actId="207"/>
          <ac:spMkLst>
            <pc:docMk/>
            <pc:sldMk cId="1997111579" sldId="984"/>
            <ac:spMk id="7" creationId="{B57C3B7F-0828-8096-C23C-2EC4258EC609}"/>
          </ac:spMkLst>
        </pc:spChg>
        <pc:spChg chg="add del mod">
          <ac:chgData name="Jon Christian Ottersen" userId="319dd709-9224-4f40-a9aa-4a008ebcaa5b" providerId="ADAL" clId="{269C1392-6ED5-47D7-A0DD-B8AD542103AF}" dt="2023-04-12T08:42:13.248" v="8044"/>
          <ac:spMkLst>
            <pc:docMk/>
            <pc:sldMk cId="1997111579" sldId="984"/>
            <ac:spMk id="8" creationId="{5E63B03A-336C-2BE5-F955-30E993E12C19}"/>
          </ac:spMkLst>
        </pc:spChg>
        <pc:picChg chg="add mod">
          <ac:chgData name="Jon Christian Ottersen" userId="319dd709-9224-4f40-a9aa-4a008ebcaa5b" providerId="ADAL" clId="{269C1392-6ED5-47D7-A0DD-B8AD542103AF}" dt="2023-04-12T08:47:34.641" v="8193" actId="1076"/>
          <ac:picMkLst>
            <pc:docMk/>
            <pc:sldMk cId="1997111579" sldId="984"/>
            <ac:picMk id="105474" creationId="{09501224-6D71-3212-0D4B-8B2B1E78A66F}"/>
          </ac:picMkLst>
        </pc:picChg>
        <pc:picChg chg="add mod">
          <ac:chgData name="Jon Christian Ottersen" userId="319dd709-9224-4f40-a9aa-4a008ebcaa5b" providerId="ADAL" clId="{269C1392-6ED5-47D7-A0DD-B8AD542103AF}" dt="2023-04-12T08:47:30.769" v="8192" actId="1076"/>
          <ac:picMkLst>
            <pc:docMk/>
            <pc:sldMk cId="1997111579" sldId="984"/>
            <ac:picMk id="105476" creationId="{98BD0201-E386-A3DA-6110-0141BD351D48}"/>
          </ac:picMkLst>
        </pc:picChg>
      </pc:sldChg>
      <pc:sldChg chg="modSp del setBg">
        <pc:chgData name="Jon Christian Ottersen" userId="319dd709-9224-4f40-a9aa-4a008ebcaa5b" providerId="ADAL" clId="{269C1392-6ED5-47D7-A0DD-B8AD542103AF}" dt="2023-03-29T16:51:19.137" v="2119" actId="47"/>
        <pc:sldMkLst>
          <pc:docMk/>
          <pc:sldMk cId="553185328" sldId="3941"/>
        </pc:sldMkLst>
        <pc:spChg chg="mod">
          <ac:chgData name="Jon Christian Ottersen" userId="319dd709-9224-4f40-a9aa-4a008ebcaa5b" providerId="ADAL" clId="{269C1392-6ED5-47D7-A0DD-B8AD542103AF}" dt="2023-03-29T16:35:58.081" v="1770"/>
          <ac:spMkLst>
            <pc:docMk/>
            <pc:sldMk cId="553185328" sldId="3941"/>
            <ac:spMk id="5" creationId="{7C751626-4A5A-C9C0-F5F2-C74B9DD528E5}"/>
          </ac:spMkLst>
        </pc:spChg>
        <pc:spChg chg="mod">
          <ac:chgData name="Jon Christian Ottersen" userId="319dd709-9224-4f40-a9aa-4a008ebcaa5b" providerId="ADAL" clId="{269C1392-6ED5-47D7-A0DD-B8AD542103AF}" dt="2023-03-29T16:35:58.081" v="1770"/>
          <ac:spMkLst>
            <pc:docMk/>
            <pc:sldMk cId="553185328" sldId="3941"/>
            <ac:spMk id="13" creationId="{40D7E16B-6C7F-1953-36F1-207E51A045CD}"/>
          </ac:spMkLst>
        </pc:spChg>
      </pc:sldChg>
      <pc:sldChg chg="addSp delSp modSp mod ord setBg modNotesTx">
        <pc:chgData name="Jon Christian Ottersen" userId="319dd709-9224-4f40-a9aa-4a008ebcaa5b" providerId="ADAL" clId="{269C1392-6ED5-47D7-A0DD-B8AD542103AF}" dt="2023-04-11T19:33:03.290" v="7037" actId="1076"/>
        <pc:sldMkLst>
          <pc:docMk/>
          <pc:sldMk cId="2617677104" sldId="3991"/>
        </pc:sldMkLst>
        <pc:spChg chg="mod">
          <ac:chgData name="Jon Christian Ottersen" userId="319dd709-9224-4f40-a9aa-4a008ebcaa5b" providerId="ADAL" clId="{269C1392-6ED5-47D7-A0DD-B8AD542103AF}" dt="2023-03-29T16:35:58.081" v="1770"/>
          <ac:spMkLst>
            <pc:docMk/>
            <pc:sldMk cId="2617677104" sldId="3991"/>
            <ac:spMk id="6" creationId="{F30E1A06-411F-B7DB-97E8-A9285563A232}"/>
          </ac:spMkLst>
        </pc:spChg>
        <pc:spChg chg="mod">
          <ac:chgData name="Jon Christian Ottersen" userId="319dd709-9224-4f40-a9aa-4a008ebcaa5b" providerId="ADAL" clId="{269C1392-6ED5-47D7-A0DD-B8AD542103AF}" dt="2023-03-29T16:44:15.346" v="1884" actId="1036"/>
          <ac:spMkLst>
            <pc:docMk/>
            <pc:sldMk cId="2617677104" sldId="3991"/>
            <ac:spMk id="10" creationId="{41FE11A4-5F9F-17FF-E102-321CDFBC34CF}"/>
          </ac:spMkLst>
        </pc:spChg>
        <pc:spChg chg="add mod">
          <ac:chgData name="Jon Christian Ottersen" userId="319dd709-9224-4f40-a9aa-4a008ebcaa5b" providerId="ADAL" clId="{269C1392-6ED5-47D7-A0DD-B8AD542103AF}" dt="2023-04-11T19:33:03.290" v="7037" actId="1076"/>
          <ac:spMkLst>
            <pc:docMk/>
            <pc:sldMk cId="2617677104" sldId="3991"/>
            <ac:spMk id="12" creationId="{4B8CC30E-021A-6AC3-06D3-0FEA983C1944}"/>
          </ac:spMkLst>
        </pc:spChg>
        <pc:spChg chg="add mod">
          <ac:chgData name="Jon Christian Ottersen" userId="319dd709-9224-4f40-a9aa-4a008ebcaa5b" providerId="ADAL" clId="{269C1392-6ED5-47D7-A0DD-B8AD542103AF}" dt="2023-03-29T16:51:57.002" v="2122" actId="2085"/>
          <ac:spMkLst>
            <pc:docMk/>
            <pc:sldMk cId="2617677104" sldId="3991"/>
            <ac:spMk id="48" creationId="{B923864E-A0BC-6153-1281-51DE73E63B65}"/>
          </ac:spMkLst>
        </pc:spChg>
        <pc:spChg chg="add del">
          <ac:chgData name="Jon Christian Ottersen" userId="319dd709-9224-4f40-a9aa-4a008ebcaa5b" providerId="ADAL" clId="{269C1392-6ED5-47D7-A0DD-B8AD542103AF}" dt="2023-03-29T16:57:48.778" v="2217" actId="478"/>
          <ac:spMkLst>
            <pc:docMk/>
            <pc:sldMk cId="2617677104" sldId="3991"/>
            <ac:spMk id="49" creationId="{BFBA7F3A-0046-249D-F657-A624176D59B0}"/>
          </ac:spMkLst>
        </pc:spChg>
      </pc:sldChg>
      <pc:sldChg chg="addSp delSp modSp mod setBg modClrScheme chgLayout">
        <pc:chgData name="Jon Christian Ottersen" userId="319dd709-9224-4f40-a9aa-4a008ebcaa5b" providerId="ADAL" clId="{269C1392-6ED5-47D7-A0DD-B8AD542103AF}" dt="2023-04-11T19:32:42.634" v="7028" actId="20577"/>
        <pc:sldMkLst>
          <pc:docMk/>
          <pc:sldMk cId="3876657706" sldId="3992"/>
        </pc:sldMkLst>
        <pc:spChg chg="add del mod">
          <ac:chgData name="Jon Christian Ottersen" userId="319dd709-9224-4f40-a9aa-4a008ebcaa5b" providerId="ADAL" clId="{269C1392-6ED5-47D7-A0DD-B8AD542103AF}" dt="2023-03-29T16:38:53.724" v="1779" actId="478"/>
          <ac:spMkLst>
            <pc:docMk/>
            <pc:sldMk cId="3876657706" sldId="3992"/>
            <ac:spMk id="2" creationId="{3B648134-2382-16A2-56E8-55A50A7CCEB6}"/>
          </ac:spMkLst>
        </pc:spChg>
        <pc:spChg chg="mod ord modVis">
          <ac:chgData name="Jon Christian Ottersen" userId="319dd709-9224-4f40-a9aa-4a008ebcaa5b" providerId="ADAL" clId="{269C1392-6ED5-47D7-A0DD-B8AD542103AF}" dt="2023-03-29T16:35:58.081" v="1770"/>
          <ac:spMkLst>
            <pc:docMk/>
            <pc:sldMk cId="3876657706" sldId="3992"/>
            <ac:spMk id="3" creationId="{33F7B2F4-AA1B-C041-E206-DAD8B655BCC6}"/>
          </ac:spMkLst>
        </pc:spChg>
        <pc:spChg chg="mod">
          <ac:chgData name="Jon Christian Ottersen" userId="319dd709-9224-4f40-a9aa-4a008ebcaa5b" providerId="ADAL" clId="{269C1392-6ED5-47D7-A0DD-B8AD542103AF}" dt="2023-04-11T19:32:42.634" v="7028" actId="20577"/>
          <ac:spMkLst>
            <pc:docMk/>
            <pc:sldMk cId="3876657706" sldId="3992"/>
            <ac:spMk id="6" creationId="{ADA0FC8A-1DD7-04A9-845B-1832C2E4CFCD}"/>
          </ac:spMkLst>
        </pc:spChg>
        <pc:spChg chg="add del mod">
          <ac:chgData name="Jon Christian Ottersen" userId="319dd709-9224-4f40-a9aa-4a008ebcaa5b" providerId="ADAL" clId="{269C1392-6ED5-47D7-A0DD-B8AD542103AF}" dt="2023-03-29T16:36:44.987" v="1774" actId="478"/>
          <ac:spMkLst>
            <pc:docMk/>
            <pc:sldMk cId="3876657706" sldId="3992"/>
            <ac:spMk id="7" creationId="{67E136DD-CD81-359A-11FB-919655B71B9B}"/>
          </ac:spMkLst>
        </pc:spChg>
        <pc:spChg chg="add del mod">
          <ac:chgData name="Jon Christian Ottersen" userId="319dd709-9224-4f40-a9aa-4a008ebcaa5b" providerId="ADAL" clId="{269C1392-6ED5-47D7-A0DD-B8AD542103AF}" dt="2023-03-29T16:36:41.004" v="1773" actId="478"/>
          <ac:spMkLst>
            <pc:docMk/>
            <pc:sldMk cId="3876657706" sldId="3992"/>
            <ac:spMk id="8" creationId="{59D2215E-1E11-4DDD-A961-69114F80C666}"/>
          </ac:spMkLst>
        </pc:spChg>
        <pc:spChg chg="add del mod">
          <ac:chgData name="Jon Christian Ottersen" userId="319dd709-9224-4f40-a9aa-4a008ebcaa5b" providerId="ADAL" clId="{269C1392-6ED5-47D7-A0DD-B8AD542103AF}" dt="2023-03-29T16:38:55.837" v="1780" actId="478"/>
          <ac:spMkLst>
            <pc:docMk/>
            <pc:sldMk cId="3876657706" sldId="3992"/>
            <ac:spMk id="9" creationId="{2CC9324D-0B35-AA0E-B0C7-7790ADED4588}"/>
          </ac:spMkLst>
        </pc:spChg>
        <pc:spChg chg="add del mod">
          <ac:chgData name="Jon Christian Ottersen" userId="319dd709-9224-4f40-a9aa-4a008ebcaa5b" providerId="ADAL" clId="{269C1392-6ED5-47D7-A0DD-B8AD542103AF}" dt="2023-03-29T16:33:50.385" v="1758" actId="26606"/>
          <ac:spMkLst>
            <pc:docMk/>
            <pc:sldMk cId="3876657706" sldId="3992"/>
            <ac:spMk id="14" creationId="{1BCDE5D5-03DB-BC4C-42C0-A606167430AA}"/>
          </ac:spMkLst>
        </pc:spChg>
        <pc:spChg chg="add del mod">
          <ac:chgData name="Jon Christian Ottersen" userId="319dd709-9224-4f40-a9aa-4a008ebcaa5b" providerId="ADAL" clId="{269C1392-6ED5-47D7-A0DD-B8AD542103AF}" dt="2023-03-29T16:33:50.385" v="1758" actId="26606"/>
          <ac:spMkLst>
            <pc:docMk/>
            <pc:sldMk cId="3876657706" sldId="3992"/>
            <ac:spMk id="16" creationId="{94A1F309-B5F0-1CFC-5A5A-F6C4902E231C}"/>
          </ac:spMkLst>
        </pc:spChg>
        <pc:spChg chg="add del mod">
          <ac:chgData name="Jon Christian Ottersen" userId="319dd709-9224-4f40-a9aa-4a008ebcaa5b" providerId="ADAL" clId="{269C1392-6ED5-47D7-A0DD-B8AD542103AF}" dt="2023-03-29T16:33:50.385" v="1758" actId="26606"/>
          <ac:spMkLst>
            <pc:docMk/>
            <pc:sldMk cId="3876657706" sldId="3992"/>
            <ac:spMk id="18" creationId="{81A792DC-8767-B9BA-6F02-EA3B31DE1FCA}"/>
          </ac:spMkLst>
        </pc:spChg>
        <pc:spChg chg="add del mod">
          <ac:chgData name="Jon Christian Ottersen" userId="319dd709-9224-4f40-a9aa-4a008ebcaa5b" providerId="ADAL" clId="{269C1392-6ED5-47D7-A0DD-B8AD542103AF}" dt="2023-03-29T16:33:50.385" v="1758" actId="26606"/>
          <ac:spMkLst>
            <pc:docMk/>
            <pc:sldMk cId="3876657706" sldId="3992"/>
            <ac:spMk id="20" creationId="{252759C4-37C3-9042-BD85-66C9CC4D99CF}"/>
          </ac:spMkLst>
        </pc:spChg>
        <pc:spChg chg="add del mod">
          <ac:chgData name="Jon Christian Ottersen" userId="319dd709-9224-4f40-a9aa-4a008ebcaa5b" providerId="ADAL" clId="{269C1392-6ED5-47D7-A0DD-B8AD542103AF}" dt="2023-03-29T16:33:50.385" v="1758" actId="26606"/>
          <ac:spMkLst>
            <pc:docMk/>
            <pc:sldMk cId="3876657706" sldId="3992"/>
            <ac:spMk id="22" creationId="{7159BDA8-2811-8ACF-2E7C-093485F9D06A}"/>
          </ac:spMkLst>
        </pc:spChg>
        <pc:spChg chg="add del mod">
          <ac:chgData name="Jon Christian Ottersen" userId="319dd709-9224-4f40-a9aa-4a008ebcaa5b" providerId="ADAL" clId="{269C1392-6ED5-47D7-A0DD-B8AD542103AF}" dt="2023-03-29T16:33:50.385" v="1758" actId="26606"/>
          <ac:spMkLst>
            <pc:docMk/>
            <pc:sldMk cId="3876657706" sldId="3992"/>
            <ac:spMk id="24" creationId="{CA75D395-C74A-6004-D1DD-47C25F787FDD}"/>
          </ac:spMkLst>
        </pc:spChg>
        <pc:spChg chg="add del mod">
          <ac:chgData name="Jon Christian Ottersen" userId="319dd709-9224-4f40-a9aa-4a008ebcaa5b" providerId="ADAL" clId="{269C1392-6ED5-47D7-A0DD-B8AD542103AF}" dt="2023-03-29T16:33:50.385" v="1758" actId="26606"/>
          <ac:spMkLst>
            <pc:docMk/>
            <pc:sldMk cId="3876657706" sldId="3992"/>
            <ac:spMk id="26" creationId="{90D516FB-D256-04BB-4191-53BB3F81E95E}"/>
          </ac:spMkLst>
        </pc:spChg>
        <pc:spChg chg="add del mod">
          <ac:chgData name="Jon Christian Ottersen" userId="319dd709-9224-4f40-a9aa-4a008ebcaa5b" providerId="ADAL" clId="{269C1392-6ED5-47D7-A0DD-B8AD542103AF}" dt="2023-03-29T16:33:50.385" v="1758" actId="26606"/>
          <ac:spMkLst>
            <pc:docMk/>
            <pc:sldMk cId="3876657706" sldId="3992"/>
            <ac:spMk id="28" creationId="{D81B8690-1F28-16D2-5630-F8FFD7FAA3E7}"/>
          </ac:spMkLst>
        </pc:spChg>
        <pc:spChg chg="add del mod">
          <ac:chgData name="Jon Christian Ottersen" userId="319dd709-9224-4f40-a9aa-4a008ebcaa5b" providerId="ADAL" clId="{269C1392-6ED5-47D7-A0DD-B8AD542103AF}" dt="2023-03-29T16:33:50.385" v="1758" actId="26606"/>
          <ac:spMkLst>
            <pc:docMk/>
            <pc:sldMk cId="3876657706" sldId="3992"/>
            <ac:spMk id="30" creationId="{C40EAE33-38ED-65D3-5FBE-56E8C4B5B89D}"/>
          </ac:spMkLst>
        </pc:spChg>
      </pc:sldChg>
      <pc:sldChg chg="modSp del mod setBg">
        <pc:chgData name="Jon Christian Ottersen" userId="319dd709-9224-4f40-a9aa-4a008ebcaa5b" providerId="ADAL" clId="{269C1392-6ED5-47D7-A0DD-B8AD542103AF}" dt="2023-03-29T16:39:22.562" v="1784" actId="47"/>
        <pc:sldMkLst>
          <pc:docMk/>
          <pc:sldMk cId="4194233285" sldId="3993"/>
        </pc:sldMkLst>
        <pc:spChg chg="mod">
          <ac:chgData name="Jon Christian Ottersen" userId="319dd709-9224-4f40-a9aa-4a008ebcaa5b" providerId="ADAL" clId="{269C1392-6ED5-47D7-A0DD-B8AD542103AF}" dt="2023-03-29T16:35:58.081" v="1770"/>
          <ac:spMkLst>
            <pc:docMk/>
            <pc:sldMk cId="4194233285" sldId="3993"/>
            <ac:spMk id="2" creationId="{3B648134-2382-16A2-56E8-55A50A7CCEB6}"/>
          </ac:spMkLst>
        </pc:spChg>
        <pc:spChg chg="mod">
          <ac:chgData name="Jon Christian Ottersen" userId="319dd709-9224-4f40-a9aa-4a008ebcaa5b" providerId="ADAL" clId="{269C1392-6ED5-47D7-A0DD-B8AD542103AF}" dt="2023-03-29T16:35:58.081" v="1770"/>
          <ac:spMkLst>
            <pc:docMk/>
            <pc:sldMk cId="4194233285" sldId="3993"/>
            <ac:spMk id="3" creationId="{33F7B2F4-AA1B-C041-E206-DAD8B655BCC6}"/>
          </ac:spMkLst>
        </pc:spChg>
        <pc:spChg chg="mod">
          <ac:chgData name="Jon Christian Ottersen" userId="319dd709-9224-4f40-a9aa-4a008ebcaa5b" providerId="ADAL" clId="{269C1392-6ED5-47D7-A0DD-B8AD542103AF}" dt="2023-03-29T16:35:58.081" v="1770"/>
          <ac:spMkLst>
            <pc:docMk/>
            <pc:sldMk cId="4194233285" sldId="3993"/>
            <ac:spMk id="6" creationId="{ADA0FC8A-1DD7-04A9-845B-1832C2E4CFCD}"/>
          </ac:spMkLst>
        </pc:spChg>
        <pc:spChg chg="mod">
          <ac:chgData name="Jon Christian Ottersen" userId="319dd709-9224-4f40-a9aa-4a008ebcaa5b" providerId="ADAL" clId="{269C1392-6ED5-47D7-A0DD-B8AD542103AF}" dt="2023-03-29T16:35:58.081" v="1770"/>
          <ac:spMkLst>
            <pc:docMk/>
            <pc:sldMk cId="4194233285" sldId="3993"/>
            <ac:spMk id="7" creationId="{67E136DD-CD81-359A-11FB-919655B71B9B}"/>
          </ac:spMkLst>
        </pc:spChg>
        <pc:spChg chg="mod">
          <ac:chgData name="Jon Christian Ottersen" userId="319dd709-9224-4f40-a9aa-4a008ebcaa5b" providerId="ADAL" clId="{269C1392-6ED5-47D7-A0DD-B8AD542103AF}" dt="2023-03-29T16:35:58.081" v="1770"/>
          <ac:spMkLst>
            <pc:docMk/>
            <pc:sldMk cId="4194233285" sldId="3993"/>
            <ac:spMk id="8" creationId="{59D2215E-1E11-4DDD-A961-69114F80C666}"/>
          </ac:spMkLst>
        </pc:spChg>
        <pc:spChg chg="mod">
          <ac:chgData name="Jon Christian Ottersen" userId="319dd709-9224-4f40-a9aa-4a008ebcaa5b" providerId="ADAL" clId="{269C1392-6ED5-47D7-A0DD-B8AD542103AF}" dt="2023-03-29T16:35:58.081" v="1770"/>
          <ac:spMkLst>
            <pc:docMk/>
            <pc:sldMk cId="4194233285" sldId="3993"/>
            <ac:spMk id="9" creationId="{2CC9324D-0B35-AA0E-B0C7-7790ADED4588}"/>
          </ac:spMkLst>
        </pc:spChg>
      </pc:sldChg>
      <pc:sldChg chg="modSp del mod setBg">
        <pc:chgData name="Jon Christian Ottersen" userId="319dd709-9224-4f40-a9aa-4a008ebcaa5b" providerId="ADAL" clId="{269C1392-6ED5-47D7-A0DD-B8AD542103AF}" dt="2023-03-29T16:40:40.443" v="1792" actId="47"/>
        <pc:sldMkLst>
          <pc:docMk/>
          <pc:sldMk cId="3180449114" sldId="3994"/>
        </pc:sldMkLst>
        <pc:spChg chg="mod">
          <ac:chgData name="Jon Christian Ottersen" userId="319dd709-9224-4f40-a9aa-4a008ebcaa5b" providerId="ADAL" clId="{269C1392-6ED5-47D7-A0DD-B8AD542103AF}" dt="2023-03-29T16:35:58.081" v="1770"/>
          <ac:spMkLst>
            <pc:docMk/>
            <pc:sldMk cId="3180449114" sldId="3994"/>
            <ac:spMk id="2" creationId="{3B648134-2382-16A2-56E8-55A50A7CCEB6}"/>
          </ac:spMkLst>
        </pc:spChg>
        <pc:spChg chg="mod">
          <ac:chgData name="Jon Christian Ottersen" userId="319dd709-9224-4f40-a9aa-4a008ebcaa5b" providerId="ADAL" clId="{269C1392-6ED5-47D7-A0DD-B8AD542103AF}" dt="2023-03-29T16:35:58.081" v="1770"/>
          <ac:spMkLst>
            <pc:docMk/>
            <pc:sldMk cId="3180449114" sldId="3994"/>
            <ac:spMk id="3" creationId="{33F7B2F4-AA1B-C041-E206-DAD8B655BCC6}"/>
          </ac:spMkLst>
        </pc:spChg>
        <pc:spChg chg="mod">
          <ac:chgData name="Jon Christian Ottersen" userId="319dd709-9224-4f40-a9aa-4a008ebcaa5b" providerId="ADAL" clId="{269C1392-6ED5-47D7-A0DD-B8AD542103AF}" dt="2023-03-29T16:35:58.081" v="1770"/>
          <ac:spMkLst>
            <pc:docMk/>
            <pc:sldMk cId="3180449114" sldId="3994"/>
            <ac:spMk id="6" creationId="{ADA0FC8A-1DD7-04A9-845B-1832C2E4CFCD}"/>
          </ac:spMkLst>
        </pc:spChg>
        <pc:spChg chg="mod">
          <ac:chgData name="Jon Christian Ottersen" userId="319dd709-9224-4f40-a9aa-4a008ebcaa5b" providerId="ADAL" clId="{269C1392-6ED5-47D7-A0DD-B8AD542103AF}" dt="2023-03-29T16:35:58.081" v="1770"/>
          <ac:spMkLst>
            <pc:docMk/>
            <pc:sldMk cId="3180449114" sldId="3994"/>
            <ac:spMk id="7" creationId="{67E136DD-CD81-359A-11FB-919655B71B9B}"/>
          </ac:spMkLst>
        </pc:spChg>
        <pc:spChg chg="mod">
          <ac:chgData name="Jon Christian Ottersen" userId="319dd709-9224-4f40-a9aa-4a008ebcaa5b" providerId="ADAL" clId="{269C1392-6ED5-47D7-A0DD-B8AD542103AF}" dt="2023-03-29T16:35:58.081" v="1770"/>
          <ac:spMkLst>
            <pc:docMk/>
            <pc:sldMk cId="3180449114" sldId="3994"/>
            <ac:spMk id="8" creationId="{59D2215E-1E11-4DDD-A961-69114F80C666}"/>
          </ac:spMkLst>
        </pc:spChg>
        <pc:spChg chg="mod">
          <ac:chgData name="Jon Christian Ottersen" userId="319dd709-9224-4f40-a9aa-4a008ebcaa5b" providerId="ADAL" clId="{269C1392-6ED5-47D7-A0DD-B8AD542103AF}" dt="2023-03-29T16:35:58.081" v="1770"/>
          <ac:spMkLst>
            <pc:docMk/>
            <pc:sldMk cId="3180449114" sldId="3994"/>
            <ac:spMk id="9" creationId="{2CC9324D-0B35-AA0E-B0C7-7790ADED4588}"/>
          </ac:spMkLst>
        </pc:spChg>
      </pc:sldChg>
      <pc:sldChg chg="modSp mod setBg">
        <pc:chgData name="Jon Christian Ottersen" userId="319dd709-9224-4f40-a9aa-4a008ebcaa5b" providerId="ADAL" clId="{269C1392-6ED5-47D7-A0DD-B8AD542103AF}" dt="2023-04-12T07:57:53.373" v="7823" actId="20577"/>
        <pc:sldMkLst>
          <pc:docMk/>
          <pc:sldMk cId="3124105667" sldId="3995"/>
        </pc:sldMkLst>
        <pc:spChg chg="mod">
          <ac:chgData name="Jon Christian Ottersen" userId="319dd709-9224-4f40-a9aa-4a008ebcaa5b" providerId="ADAL" clId="{269C1392-6ED5-47D7-A0DD-B8AD542103AF}" dt="2023-03-29T16:35:58.081" v="1770"/>
          <ac:spMkLst>
            <pc:docMk/>
            <pc:sldMk cId="3124105667" sldId="3995"/>
            <ac:spMk id="4" creationId="{E2170E42-3FF9-2131-2679-39871A1FE0F2}"/>
          </ac:spMkLst>
        </pc:spChg>
        <pc:spChg chg="mod">
          <ac:chgData name="Jon Christian Ottersen" userId="319dd709-9224-4f40-a9aa-4a008ebcaa5b" providerId="ADAL" clId="{269C1392-6ED5-47D7-A0DD-B8AD542103AF}" dt="2023-03-29T16:35:58.081" v="1770"/>
          <ac:spMkLst>
            <pc:docMk/>
            <pc:sldMk cId="3124105667" sldId="3995"/>
            <ac:spMk id="5" creationId="{2F36C6AE-DEB7-E60D-DC5B-0B77EA77B92E}"/>
          </ac:spMkLst>
        </pc:spChg>
        <pc:spChg chg="mod">
          <ac:chgData name="Jon Christian Ottersen" userId="319dd709-9224-4f40-a9aa-4a008ebcaa5b" providerId="ADAL" clId="{269C1392-6ED5-47D7-A0DD-B8AD542103AF}" dt="2023-03-29T17:37:42.954" v="4079" actId="20577"/>
          <ac:spMkLst>
            <pc:docMk/>
            <pc:sldMk cId="3124105667" sldId="3995"/>
            <ac:spMk id="8" creationId="{BD3D014B-EAF2-C288-FEB0-DF6A0CC8DDB4}"/>
          </ac:spMkLst>
        </pc:spChg>
        <pc:spChg chg="mod">
          <ac:chgData name="Jon Christian Ottersen" userId="319dd709-9224-4f40-a9aa-4a008ebcaa5b" providerId="ADAL" clId="{269C1392-6ED5-47D7-A0DD-B8AD542103AF}" dt="2023-04-12T07:57:53.373" v="7823" actId="20577"/>
          <ac:spMkLst>
            <pc:docMk/>
            <pc:sldMk cId="3124105667" sldId="3995"/>
            <ac:spMk id="9" creationId="{AFDAEF88-F0DD-3644-D5BE-CD6C87848A1E}"/>
          </ac:spMkLst>
        </pc:spChg>
      </pc:sldChg>
      <pc:sldChg chg="addSp modSp new add del mod ord setBg modNotesTx">
        <pc:chgData name="Jon Christian Ottersen" userId="319dd709-9224-4f40-a9aa-4a008ebcaa5b" providerId="ADAL" clId="{269C1392-6ED5-47D7-A0DD-B8AD542103AF}" dt="2023-04-12T08:05:32.876" v="7936" actId="20577"/>
        <pc:sldMkLst>
          <pc:docMk/>
          <pc:sldMk cId="1539970819" sldId="3996"/>
        </pc:sldMkLst>
        <pc:spChg chg="mod">
          <ac:chgData name="Jon Christian Ottersen" userId="319dd709-9224-4f40-a9aa-4a008ebcaa5b" providerId="ADAL" clId="{269C1392-6ED5-47D7-A0DD-B8AD542103AF}" dt="2023-03-29T16:35:58.081" v="1770"/>
          <ac:spMkLst>
            <pc:docMk/>
            <pc:sldMk cId="1539970819" sldId="3996"/>
            <ac:spMk id="2" creationId="{82087858-8A0A-B420-68CB-8D68F2ED8228}"/>
          </ac:spMkLst>
        </pc:spChg>
        <pc:spChg chg="mod">
          <ac:chgData name="Jon Christian Ottersen" userId="319dd709-9224-4f40-a9aa-4a008ebcaa5b" providerId="ADAL" clId="{269C1392-6ED5-47D7-A0DD-B8AD542103AF}" dt="2023-03-29T16:35:58.081" v="1770"/>
          <ac:spMkLst>
            <pc:docMk/>
            <pc:sldMk cId="1539970819" sldId="3996"/>
            <ac:spMk id="3" creationId="{DD0066F4-A950-BE61-C7FB-E8E9E153722A}"/>
          </ac:spMkLst>
        </pc:spChg>
        <pc:spChg chg="mod">
          <ac:chgData name="Jon Christian Ottersen" userId="319dd709-9224-4f40-a9aa-4a008ebcaa5b" providerId="ADAL" clId="{269C1392-6ED5-47D7-A0DD-B8AD542103AF}" dt="2023-03-29T17:50:31.077" v="4924" actId="20577"/>
          <ac:spMkLst>
            <pc:docMk/>
            <pc:sldMk cId="1539970819" sldId="3996"/>
            <ac:spMk id="4" creationId="{5281B849-D3AB-F622-1F87-9B795E58B6B9}"/>
          </ac:spMkLst>
        </pc:spChg>
        <pc:spChg chg="mod">
          <ac:chgData name="Jon Christian Ottersen" userId="319dd709-9224-4f40-a9aa-4a008ebcaa5b" providerId="ADAL" clId="{269C1392-6ED5-47D7-A0DD-B8AD542103AF}" dt="2023-04-12T07:25:07.310" v="7759" actId="20577"/>
          <ac:spMkLst>
            <pc:docMk/>
            <pc:sldMk cId="1539970819" sldId="3996"/>
            <ac:spMk id="5" creationId="{45C11E42-719E-8A79-888E-5936238A3BC8}"/>
          </ac:spMkLst>
        </pc:spChg>
        <pc:spChg chg="add mod">
          <ac:chgData name="Jon Christian Ottersen" userId="319dd709-9224-4f40-a9aa-4a008ebcaa5b" providerId="ADAL" clId="{269C1392-6ED5-47D7-A0DD-B8AD542103AF}" dt="2023-04-12T08:05:32.876" v="7936" actId="20577"/>
          <ac:spMkLst>
            <pc:docMk/>
            <pc:sldMk cId="1539970819" sldId="3996"/>
            <ac:spMk id="6" creationId="{6C32D995-1482-4358-B357-36AB6A2EE0BC}"/>
          </ac:spMkLst>
        </pc:spChg>
        <pc:spChg chg="add mod">
          <ac:chgData name="Jon Christian Ottersen" userId="319dd709-9224-4f40-a9aa-4a008ebcaa5b" providerId="ADAL" clId="{269C1392-6ED5-47D7-A0DD-B8AD542103AF}" dt="2023-04-12T08:02:06.148" v="7824" actId="6549"/>
          <ac:spMkLst>
            <pc:docMk/>
            <pc:sldMk cId="1539970819" sldId="3996"/>
            <ac:spMk id="7" creationId="{67AAF2F0-6F8F-EC1B-40FD-D7A4BC7B8EC8}"/>
          </ac:spMkLst>
        </pc:spChg>
        <pc:spChg chg="add mod">
          <ac:chgData name="Jon Christian Ottersen" userId="319dd709-9224-4f40-a9aa-4a008ebcaa5b" providerId="ADAL" clId="{269C1392-6ED5-47D7-A0DD-B8AD542103AF}" dt="2023-04-12T07:22:03.180" v="7598" actId="20577"/>
          <ac:spMkLst>
            <pc:docMk/>
            <pc:sldMk cId="1539970819" sldId="3996"/>
            <ac:spMk id="8" creationId="{EE252B69-2C44-7AC3-5434-9E144797BE6D}"/>
          </ac:spMkLst>
        </pc:spChg>
      </pc:sldChg>
      <pc:sldChg chg="delSp modSp add mod setBg">
        <pc:chgData name="Jon Christian Ottersen" userId="319dd709-9224-4f40-a9aa-4a008ebcaa5b" providerId="ADAL" clId="{269C1392-6ED5-47D7-A0DD-B8AD542103AF}" dt="2023-03-29T16:43:00.892" v="1844"/>
        <pc:sldMkLst>
          <pc:docMk/>
          <pc:sldMk cId="2341090551" sldId="3997"/>
        </pc:sldMkLst>
        <pc:spChg chg="del">
          <ac:chgData name="Jon Christian Ottersen" userId="319dd709-9224-4f40-a9aa-4a008ebcaa5b" providerId="ADAL" clId="{269C1392-6ED5-47D7-A0DD-B8AD542103AF}" dt="2023-03-29T16:39:17.500" v="1782" actId="478"/>
          <ac:spMkLst>
            <pc:docMk/>
            <pc:sldMk cId="2341090551" sldId="3997"/>
            <ac:spMk id="2" creationId="{3B648134-2382-16A2-56E8-55A50A7CCEB6}"/>
          </ac:spMkLst>
        </pc:spChg>
        <pc:spChg chg="mod">
          <ac:chgData name="Jon Christian Ottersen" userId="319dd709-9224-4f40-a9aa-4a008ebcaa5b" providerId="ADAL" clId="{269C1392-6ED5-47D7-A0DD-B8AD542103AF}" dt="2023-03-29T16:40:26.546" v="1790" actId="13926"/>
          <ac:spMkLst>
            <pc:docMk/>
            <pc:sldMk cId="2341090551" sldId="3997"/>
            <ac:spMk id="6" creationId="{ADA0FC8A-1DD7-04A9-845B-1832C2E4CFCD}"/>
          </ac:spMkLst>
        </pc:spChg>
        <pc:spChg chg="del">
          <ac:chgData name="Jon Christian Ottersen" userId="319dd709-9224-4f40-a9aa-4a008ebcaa5b" providerId="ADAL" clId="{269C1392-6ED5-47D7-A0DD-B8AD542103AF}" dt="2023-03-29T16:39:20.157" v="1783" actId="478"/>
          <ac:spMkLst>
            <pc:docMk/>
            <pc:sldMk cId="2341090551" sldId="3997"/>
            <ac:spMk id="9" creationId="{2CC9324D-0B35-AA0E-B0C7-7790ADED4588}"/>
          </ac:spMkLst>
        </pc:spChg>
      </pc:sldChg>
      <pc:sldChg chg="modSp add mod setBg">
        <pc:chgData name="Jon Christian Ottersen" userId="319dd709-9224-4f40-a9aa-4a008ebcaa5b" providerId="ADAL" clId="{269C1392-6ED5-47D7-A0DD-B8AD542103AF}" dt="2023-03-29T16:43:09.021" v="1845"/>
        <pc:sldMkLst>
          <pc:docMk/>
          <pc:sldMk cId="2905638162" sldId="3998"/>
        </pc:sldMkLst>
        <pc:spChg chg="mod">
          <ac:chgData name="Jon Christian Ottersen" userId="319dd709-9224-4f40-a9aa-4a008ebcaa5b" providerId="ADAL" clId="{269C1392-6ED5-47D7-A0DD-B8AD542103AF}" dt="2023-03-29T16:40:51.144" v="1830" actId="20577"/>
          <ac:spMkLst>
            <pc:docMk/>
            <pc:sldMk cId="2905638162" sldId="3998"/>
            <ac:spMk id="6" creationId="{ADA0FC8A-1DD7-04A9-845B-1832C2E4CFCD}"/>
          </ac:spMkLst>
        </pc:spChg>
      </pc:sldChg>
      <pc:sldChg chg="add del setBg">
        <pc:chgData name="Jon Christian Ottersen" userId="319dd709-9224-4f40-a9aa-4a008ebcaa5b" providerId="ADAL" clId="{269C1392-6ED5-47D7-A0DD-B8AD542103AF}" dt="2023-03-29T16:40:16.813" v="1788" actId="47"/>
        <pc:sldMkLst>
          <pc:docMk/>
          <pc:sldMk cId="3988978256" sldId="3998"/>
        </pc:sldMkLst>
      </pc:sldChg>
      <pc:sldChg chg="new del setBg">
        <pc:chgData name="Jon Christian Ottersen" userId="319dd709-9224-4f40-a9aa-4a008ebcaa5b" providerId="ADAL" clId="{269C1392-6ED5-47D7-A0DD-B8AD542103AF}" dt="2023-03-29T16:48:59.449" v="2097" actId="47"/>
        <pc:sldMkLst>
          <pc:docMk/>
          <pc:sldMk cId="1124131524" sldId="3999"/>
        </pc:sldMkLst>
      </pc:sldChg>
      <pc:sldChg chg="modSp add mod">
        <pc:chgData name="Jon Christian Ottersen" userId="319dd709-9224-4f40-a9aa-4a008ebcaa5b" providerId="ADAL" clId="{269C1392-6ED5-47D7-A0DD-B8AD542103AF}" dt="2023-03-29T17:20:23.738" v="3759" actId="13926"/>
        <pc:sldMkLst>
          <pc:docMk/>
          <pc:sldMk cId="4132045189" sldId="3999"/>
        </pc:sldMkLst>
        <pc:spChg chg="mod">
          <ac:chgData name="Jon Christian Ottersen" userId="319dd709-9224-4f40-a9aa-4a008ebcaa5b" providerId="ADAL" clId="{269C1392-6ED5-47D7-A0DD-B8AD542103AF}" dt="2023-03-29T17:20:23.738" v="3759" actId="13926"/>
          <ac:spMkLst>
            <pc:docMk/>
            <pc:sldMk cId="4132045189" sldId="3999"/>
            <ac:spMk id="6" creationId="{ADA0FC8A-1DD7-04A9-845B-1832C2E4CFCD}"/>
          </ac:spMkLst>
        </pc:spChg>
      </pc:sldChg>
      <pc:sldChg chg="modSp new mod setBg">
        <pc:chgData name="Jon Christian Ottersen" userId="319dd709-9224-4f40-a9aa-4a008ebcaa5b" providerId="ADAL" clId="{269C1392-6ED5-47D7-A0DD-B8AD542103AF}" dt="2023-03-29T18:08:36.699" v="6030" actId="115"/>
        <pc:sldMkLst>
          <pc:docMk/>
          <pc:sldMk cId="2262503501" sldId="4000"/>
        </pc:sldMkLst>
        <pc:spChg chg="mod">
          <ac:chgData name="Jon Christian Ottersen" userId="319dd709-9224-4f40-a9aa-4a008ebcaa5b" providerId="ADAL" clId="{269C1392-6ED5-47D7-A0DD-B8AD542103AF}" dt="2023-03-29T17:48:07.798" v="4865" actId="20577"/>
          <ac:spMkLst>
            <pc:docMk/>
            <pc:sldMk cId="2262503501" sldId="4000"/>
            <ac:spMk id="4" creationId="{46FB6AC9-CBD9-BA52-BA5B-9F01A5F1C843}"/>
          </ac:spMkLst>
        </pc:spChg>
        <pc:spChg chg="mod">
          <ac:chgData name="Jon Christian Ottersen" userId="319dd709-9224-4f40-a9aa-4a008ebcaa5b" providerId="ADAL" clId="{269C1392-6ED5-47D7-A0DD-B8AD542103AF}" dt="2023-03-29T18:08:36.699" v="6030" actId="115"/>
          <ac:spMkLst>
            <pc:docMk/>
            <pc:sldMk cId="2262503501" sldId="4000"/>
            <ac:spMk id="5" creationId="{1D82BFED-489B-F9E5-9C1F-F1B28F577858}"/>
          </ac:spMkLst>
        </pc:spChg>
      </pc:sldChg>
      <pc:sldMasterChg chg="setBg modSldLayout">
        <pc:chgData name="Jon Christian Ottersen" userId="319dd709-9224-4f40-a9aa-4a008ebcaa5b" providerId="ADAL" clId="{269C1392-6ED5-47D7-A0DD-B8AD542103AF}" dt="2023-03-29T16:36:33.089" v="1771"/>
        <pc:sldMasterMkLst>
          <pc:docMk/>
          <pc:sldMasterMk cId="467627634" sldId="2147483826"/>
        </pc:sldMasterMkLst>
        <pc:sldLayoutChg chg="setBg">
          <pc:chgData name="Jon Christian Ottersen" userId="319dd709-9224-4f40-a9aa-4a008ebcaa5b" providerId="ADAL" clId="{269C1392-6ED5-47D7-A0DD-B8AD542103AF}" dt="2023-03-29T16:36:33.089" v="1771"/>
          <pc:sldLayoutMkLst>
            <pc:docMk/>
            <pc:sldMasterMk cId="467627634" sldId="2147483798"/>
            <pc:sldLayoutMk cId="2163564745" sldId="2147483804"/>
          </pc:sldLayoutMkLst>
        </pc:sldLayoutChg>
        <pc:sldLayoutChg chg="setBg">
          <pc:chgData name="Jon Christian Ottersen" userId="319dd709-9224-4f40-a9aa-4a008ebcaa5b" providerId="ADAL" clId="{269C1392-6ED5-47D7-A0DD-B8AD542103AF}" dt="2023-03-29T16:36:33.089" v="1771"/>
          <pc:sldLayoutMkLst>
            <pc:docMk/>
            <pc:sldMasterMk cId="467627634" sldId="2147483798"/>
            <pc:sldLayoutMk cId="2784738263" sldId="2147483810"/>
          </pc:sldLayoutMkLst>
        </pc:sldLayoutChg>
        <pc:sldLayoutChg chg="setBg">
          <pc:chgData name="Jon Christian Ottersen" userId="319dd709-9224-4f40-a9aa-4a008ebcaa5b" providerId="ADAL" clId="{269C1392-6ED5-47D7-A0DD-B8AD542103AF}" dt="2023-03-29T16:36:33.089" v="1771"/>
          <pc:sldLayoutMkLst>
            <pc:docMk/>
            <pc:sldMasterMk cId="467627634" sldId="2147483798"/>
            <pc:sldLayoutMk cId="654422601" sldId="2147483811"/>
          </pc:sldLayoutMkLst>
        </pc:sldLayoutChg>
        <pc:sldLayoutChg chg="setBg">
          <pc:chgData name="Jon Christian Ottersen" userId="319dd709-9224-4f40-a9aa-4a008ebcaa5b" providerId="ADAL" clId="{269C1392-6ED5-47D7-A0DD-B8AD542103AF}" dt="2023-03-29T16:36:33.089" v="1771"/>
          <pc:sldLayoutMkLst>
            <pc:docMk/>
            <pc:sldMasterMk cId="467627634" sldId="2147483798"/>
            <pc:sldLayoutMk cId="1867761275" sldId="2147483812"/>
          </pc:sldLayoutMkLst>
        </pc:sldLayoutChg>
        <pc:sldLayoutChg chg="setBg">
          <pc:chgData name="Jon Christian Ottersen" userId="319dd709-9224-4f40-a9aa-4a008ebcaa5b" providerId="ADAL" clId="{269C1392-6ED5-47D7-A0DD-B8AD542103AF}" dt="2023-03-29T16:36:33.089" v="1771"/>
          <pc:sldLayoutMkLst>
            <pc:docMk/>
            <pc:sldMasterMk cId="467627634" sldId="2147483798"/>
            <pc:sldLayoutMk cId="3739222659" sldId="2147483813"/>
          </pc:sldLayoutMkLst>
        </pc:sldLayoutChg>
        <pc:sldLayoutChg chg="setBg">
          <pc:chgData name="Jon Christian Ottersen" userId="319dd709-9224-4f40-a9aa-4a008ebcaa5b" providerId="ADAL" clId="{269C1392-6ED5-47D7-A0DD-B8AD542103AF}" dt="2023-03-29T16:36:33.089" v="1771"/>
          <pc:sldLayoutMkLst>
            <pc:docMk/>
            <pc:sldMasterMk cId="467627634" sldId="2147483826"/>
            <pc:sldLayoutMk cId="1074375170" sldId="2147483827"/>
          </pc:sldLayoutMkLst>
        </pc:sldLayoutChg>
        <pc:sldLayoutChg chg="setBg">
          <pc:chgData name="Jon Christian Ottersen" userId="319dd709-9224-4f40-a9aa-4a008ebcaa5b" providerId="ADAL" clId="{269C1392-6ED5-47D7-A0DD-B8AD542103AF}" dt="2023-03-29T16:36:33.089" v="1771"/>
          <pc:sldLayoutMkLst>
            <pc:docMk/>
            <pc:sldMasterMk cId="467627634" sldId="2147483826"/>
            <pc:sldLayoutMk cId="601702479" sldId="2147483828"/>
          </pc:sldLayoutMkLst>
        </pc:sldLayoutChg>
      </pc:sldMasterChg>
      <pc:sldMasterChg chg="addSp modSldLayout">
        <pc:chgData name="Jon Christian Ottersen" userId="319dd709-9224-4f40-a9aa-4a008ebcaa5b" providerId="ADAL" clId="{269C1392-6ED5-47D7-A0DD-B8AD542103AF}" dt="2023-03-29T16:35:48.611" v="1759"/>
        <pc:sldMasterMkLst>
          <pc:docMk/>
          <pc:sldMasterMk cId="2369749617" sldId="2147483826"/>
        </pc:sldMasterMkLst>
        <pc:spChg chg="add">
          <ac:chgData name="Jon Christian Ottersen" userId="319dd709-9224-4f40-a9aa-4a008ebcaa5b" providerId="ADAL" clId="{269C1392-6ED5-47D7-A0DD-B8AD542103AF}" dt="2023-03-29T16:35:48.611" v="1759"/>
          <ac:spMkLst>
            <pc:docMk/>
            <pc:sldMasterMk cId="2369749617" sldId="2147483826"/>
            <ac:spMk id="10" creationId="{1A167F43-1B86-45C4-6AC5-1F23C2CC70D8}"/>
          </ac:spMkLst>
        </pc:spChg>
        <pc:graphicFrameChg chg="add">
          <ac:chgData name="Jon Christian Ottersen" userId="319dd709-9224-4f40-a9aa-4a008ebcaa5b" providerId="ADAL" clId="{269C1392-6ED5-47D7-A0DD-B8AD542103AF}" dt="2023-03-29T16:35:48.611" v="1759"/>
          <ac:graphicFrameMkLst>
            <pc:docMk/>
            <pc:sldMasterMk cId="2369749617" sldId="2147483826"/>
            <ac:graphicFrameMk id="8" creationId="{56ACAA1A-0804-BA4F-BF45-B1A227BF828F}"/>
          </ac:graphicFrameMkLst>
        </pc:graphicFrameChg>
        <pc:picChg chg="add">
          <ac:chgData name="Jon Christian Ottersen" userId="319dd709-9224-4f40-a9aa-4a008ebcaa5b" providerId="ADAL" clId="{269C1392-6ED5-47D7-A0DD-B8AD542103AF}" dt="2023-03-29T16:35:48.611" v="1759"/>
          <ac:picMkLst>
            <pc:docMk/>
            <pc:sldMasterMk cId="2369749617" sldId="2147483826"/>
            <ac:picMk id="9" creationId="{64349D33-866C-359A-FA4F-88AFD71D04AF}"/>
          </ac:picMkLst>
        </pc:picChg>
        <pc:sldLayoutChg chg="addSp">
          <pc:chgData name="Jon Christian Ottersen" userId="319dd709-9224-4f40-a9aa-4a008ebcaa5b" providerId="ADAL" clId="{269C1392-6ED5-47D7-A0DD-B8AD542103AF}" dt="2023-03-29T16:35:48.611" v="1759"/>
          <pc:sldLayoutMkLst>
            <pc:docMk/>
            <pc:sldMasterMk cId="2369749617" sldId="2147483826"/>
            <pc:sldLayoutMk cId="1467095350" sldId="2147483833"/>
          </pc:sldLayoutMkLst>
          <pc:spChg chg="add">
            <ac:chgData name="Jon Christian Ottersen" userId="319dd709-9224-4f40-a9aa-4a008ebcaa5b" providerId="ADAL" clId="{269C1392-6ED5-47D7-A0DD-B8AD542103AF}" dt="2023-03-29T16:35:48.611" v="1759"/>
            <ac:spMkLst>
              <pc:docMk/>
              <pc:sldMasterMk cId="2369749617" sldId="2147483826"/>
              <pc:sldLayoutMk cId="1467095350" sldId="2147483833"/>
              <ac:spMk id="5" creationId="{A45C305E-1591-89F6-75F3-9E3504F0A8F2}"/>
            </ac:spMkLst>
          </pc:spChg>
          <pc:spChg chg="add">
            <ac:chgData name="Jon Christian Ottersen" userId="319dd709-9224-4f40-a9aa-4a008ebcaa5b" providerId="ADAL" clId="{269C1392-6ED5-47D7-A0DD-B8AD542103AF}" dt="2023-03-29T16:35:48.611" v="1759"/>
            <ac:spMkLst>
              <pc:docMk/>
              <pc:sldMasterMk cId="2369749617" sldId="2147483826"/>
              <pc:sldLayoutMk cId="1467095350" sldId="2147483833"/>
              <ac:spMk id="6" creationId="{6D3DDEAE-E7A7-9E43-698A-5A51F5AD9695}"/>
            </ac:spMkLst>
          </pc:spChg>
        </pc:sldLayoutChg>
      </pc:sldMasterChg>
      <pc:sldMasterChg chg="addSp modSldLayout">
        <pc:chgData name="Jon Christian Ottersen" userId="319dd709-9224-4f40-a9aa-4a008ebcaa5b" providerId="ADAL" clId="{269C1392-6ED5-47D7-A0DD-B8AD542103AF}" dt="2023-03-29T16:35:53.021" v="1767"/>
        <pc:sldMasterMkLst>
          <pc:docMk/>
          <pc:sldMasterMk cId="1521211433" sldId="2147483846"/>
        </pc:sldMasterMkLst>
        <pc:spChg chg="add">
          <ac:chgData name="Jon Christian Ottersen" userId="319dd709-9224-4f40-a9aa-4a008ebcaa5b" providerId="ADAL" clId="{269C1392-6ED5-47D7-A0DD-B8AD542103AF}" dt="2023-03-29T16:35:53.021" v="1767"/>
          <ac:spMkLst>
            <pc:docMk/>
            <pc:sldMasterMk cId="1521211433" sldId="2147483846"/>
            <ac:spMk id="9" creationId="{CDE18E54-599F-3143-DE5E-CB1515677CB2}"/>
          </ac:spMkLst>
        </pc:spChg>
        <pc:graphicFrameChg chg="add">
          <ac:chgData name="Jon Christian Ottersen" userId="319dd709-9224-4f40-a9aa-4a008ebcaa5b" providerId="ADAL" clId="{269C1392-6ED5-47D7-A0DD-B8AD542103AF}" dt="2023-03-29T16:35:53.021" v="1767"/>
          <ac:graphicFrameMkLst>
            <pc:docMk/>
            <pc:sldMasterMk cId="1521211433" sldId="2147483846"/>
            <ac:graphicFrameMk id="7" creationId="{5CBD961F-CE11-877A-8508-8FB9A616C32D}"/>
          </ac:graphicFrameMkLst>
        </pc:graphicFrameChg>
        <pc:picChg chg="add">
          <ac:chgData name="Jon Christian Ottersen" userId="319dd709-9224-4f40-a9aa-4a008ebcaa5b" providerId="ADAL" clId="{269C1392-6ED5-47D7-A0DD-B8AD542103AF}" dt="2023-03-29T16:35:53.021" v="1767"/>
          <ac:picMkLst>
            <pc:docMk/>
            <pc:sldMasterMk cId="1521211433" sldId="2147483846"/>
            <ac:picMk id="8" creationId="{BC3F1B3B-EAEC-E290-7BB5-6F3F18DED4CF}"/>
          </ac:picMkLst>
        </pc:picChg>
        <pc:sldLayoutChg chg="addSp">
          <pc:chgData name="Jon Christian Ottersen" userId="319dd709-9224-4f40-a9aa-4a008ebcaa5b" providerId="ADAL" clId="{269C1392-6ED5-47D7-A0DD-B8AD542103AF}" dt="2023-03-29T16:35:53.021" v="1767"/>
          <pc:sldLayoutMkLst>
            <pc:docMk/>
            <pc:sldMasterMk cId="1521211433" sldId="2147483846"/>
            <pc:sldLayoutMk cId="1744286825" sldId="2147483853"/>
          </pc:sldLayoutMkLst>
          <pc:spChg chg="add">
            <ac:chgData name="Jon Christian Ottersen" userId="319dd709-9224-4f40-a9aa-4a008ebcaa5b" providerId="ADAL" clId="{269C1392-6ED5-47D7-A0DD-B8AD542103AF}" dt="2023-03-29T16:35:53.021" v="1767"/>
            <ac:spMkLst>
              <pc:docMk/>
              <pc:sldMasterMk cId="1521211433" sldId="2147483846"/>
              <pc:sldLayoutMk cId="1744286825" sldId="2147483853"/>
              <ac:spMk id="5" creationId="{D5ED099F-AC96-55E3-2701-3B0EEB2AE175}"/>
            </ac:spMkLst>
          </pc:spChg>
          <pc:spChg chg="add">
            <ac:chgData name="Jon Christian Ottersen" userId="319dd709-9224-4f40-a9aa-4a008ebcaa5b" providerId="ADAL" clId="{269C1392-6ED5-47D7-A0DD-B8AD542103AF}" dt="2023-03-29T16:35:53.021" v="1767"/>
            <ac:spMkLst>
              <pc:docMk/>
              <pc:sldMasterMk cId="1521211433" sldId="2147483846"/>
              <pc:sldLayoutMk cId="1744286825" sldId="2147483853"/>
              <ac:spMk id="6" creationId="{12E8A901-29A7-2724-E742-5F3C0B2604C0}"/>
            </ac:spMkLst>
          </pc:spChg>
        </pc:sldLayoutChg>
      </pc:sldMasterChg>
    </pc:docChg>
  </pc:docChgLst>
  <pc:docChgLst>
    <pc:chgData clId="Web-{2E8847B5-81C6-4F4B-ACC3-B4C887D84113}"/>
    <pc:docChg chg="modSld">
      <pc:chgData name="" userId="" providerId="" clId="Web-{2E8847B5-81C6-4F4B-ACC3-B4C887D84113}" dt="2023-03-31T12:07:55.976" v="0" actId="20577"/>
      <pc:docMkLst>
        <pc:docMk/>
      </pc:docMkLst>
      <pc:sldChg chg="modSp">
        <pc:chgData name="" userId="" providerId="" clId="Web-{2E8847B5-81C6-4F4B-ACC3-B4C887D84113}" dt="2023-03-31T12:07:55.976" v="0" actId="20577"/>
        <pc:sldMkLst>
          <pc:docMk/>
          <pc:sldMk cId="1539970819" sldId="3996"/>
        </pc:sldMkLst>
        <pc:spChg chg="mod">
          <ac:chgData name="" userId="" providerId="" clId="Web-{2E8847B5-81C6-4F4B-ACC3-B4C887D84113}" dt="2023-03-31T12:07:55.976" v="0" actId="20577"/>
          <ac:spMkLst>
            <pc:docMk/>
            <pc:sldMk cId="1539970819" sldId="3996"/>
            <ac:spMk id="5" creationId="{45C11E42-719E-8A79-888E-5936238A3BC8}"/>
          </ac:spMkLst>
        </pc:spChg>
      </pc:sldChg>
    </pc:docChg>
  </pc:docChgLst>
  <pc:docChgLst>
    <pc:chgData name="Marianne Sinead Flesland" userId="S::mariasfl@uio.no::facc3627-c0de-4b78-919d-1b6bf2dc9821" providerId="AD" clId="Web-{99BA7D35-09B3-61D9-5826-657F3546CBDB}"/>
    <pc:docChg chg="modSld">
      <pc:chgData name="Marianne Sinead Flesland" userId="S::mariasfl@uio.no::facc3627-c0de-4b78-919d-1b6bf2dc9821" providerId="AD" clId="Web-{99BA7D35-09B3-61D9-5826-657F3546CBDB}" dt="2023-04-11T13:16:04.705" v="496" actId="20577"/>
      <pc:docMkLst>
        <pc:docMk/>
      </pc:docMkLst>
      <pc:sldChg chg="addSp delSp modSp">
        <pc:chgData name="Marianne Sinead Flesland" userId="S::mariasfl@uio.no::facc3627-c0de-4b78-919d-1b6bf2dc9821" providerId="AD" clId="Web-{99BA7D35-09B3-61D9-5826-657F3546CBDB}" dt="2023-04-11T11:46:59.596" v="447" actId="20577"/>
        <pc:sldMkLst>
          <pc:docMk/>
          <pc:sldMk cId="3269269740" sldId="4003"/>
        </pc:sldMkLst>
        <pc:spChg chg="mod">
          <ac:chgData name="Marianne Sinead Flesland" userId="S::mariasfl@uio.no::facc3627-c0de-4b78-919d-1b6bf2dc9821" providerId="AD" clId="Web-{99BA7D35-09B3-61D9-5826-657F3546CBDB}" dt="2023-04-11T11:46:59.596" v="447" actId="20577"/>
          <ac:spMkLst>
            <pc:docMk/>
            <pc:sldMk cId="3269269740" sldId="4003"/>
            <ac:spMk id="2" creationId="{C1BB1884-A2E3-AF50-3768-5B677C0D5A7E}"/>
          </ac:spMkLst>
        </pc:spChg>
        <pc:spChg chg="mod">
          <ac:chgData name="Marianne Sinead Flesland" userId="S::mariasfl@uio.no::facc3627-c0de-4b78-919d-1b6bf2dc9821" providerId="AD" clId="Web-{99BA7D35-09B3-61D9-5826-657F3546CBDB}" dt="2023-04-11T11:41:27.670" v="294" actId="20577"/>
          <ac:spMkLst>
            <pc:docMk/>
            <pc:sldMk cId="3269269740" sldId="4003"/>
            <ac:spMk id="5" creationId="{E847F357-FC96-B11A-9FEE-E31E5D1FB814}"/>
          </ac:spMkLst>
        </pc:spChg>
        <pc:spChg chg="del">
          <ac:chgData name="Marianne Sinead Flesland" userId="S::mariasfl@uio.no::facc3627-c0de-4b78-919d-1b6bf2dc9821" providerId="AD" clId="Web-{99BA7D35-09B3-61D9-5826-657F3546CBDB}" dt="2023-04-11T11:04:04.068" v="8"/>
          <ac:spMkLst>
            <pc:docMk/>
            <pc:sldMk cId="3269269740" sldId="4003"/>
            <ac:spMk id="6" creationId="{52CC1725-28C1-DF2C-0918-8A3652333A3D}"/>
          </ac:spMkLst>
        </pc:spChg>
        <pc:spChg chg="del mod">
          <ac:chgData name="Marianne Sinead Flesland" userId="S::mariasfl@uio.no::facc3627-c0de-4b78-919d-1b6bf2dc9821" providerId="AD" clId="Web-{99BA7D35-09B3-61D9-5826-657F3546CBDB}" dt="2023-04-11T11:28:06.802" v="190"/>
          <ac:spMkLst>
            <pc:docMk/>
            <pc:sldMk cId="3269269740" sldId="4003"/>
            <ac:spMk id="7" creationId="{FF0AAE05-1287-397A-C9F3-AF34234590E7}"/>
          </ac:spMkLst>
        </pc:spChg>
        <pc:picChg chg="add mod">
          <ac:chgData name="Marianne Sinead Flesland" userId="S::mariasfl@uio.no::facc3627-c0de-4b78-919d-1b6bf2dc9821" providerId="AD" clId="Web-{99BA7D35-09B3-61D9-5826-657F3546CBDB}" dt="2023-04-11T11:31:26.226" v="247" actId="14100"/>
          <ac:picMkLst>
            <pc:docMk/>
            <pc:sldMk cId="3269269740" sldId="4003"/>
            <ac:picMk id="8" creationId="{A5BEF842-F714-CC1B-5738-74D03F6DBF21}"/>
          </ac:picMkLst>
        </pc:picChg>
        <pc:picChg chg="add mod">
          <ac:chgData name="Marianne Sinead Flesland" userId="S::mariasfl@uio.no::facc3627-c0de-4b78-919d-1b6bf2dc9821" providerId="AD" clId="Web-{99BA7D35-09B3-61D9-5826-657F3546CBDB}" dt="2023-04-11T11:35:01.041" v="290" actId="1076"/>
          <ac:picMkLst>
            <pc:docMk/>
            <pc:sldMk cId="3269269740" sldId="4003"/>
            <ac:picMk id="9" creationId="{ABE687A9-9525-F967-08B8-1C55A6324277}"/>
          </ac:picMkLst>
        </pc:picChg>
        <pc:picChg chg="add mod">
          <ac:chgData name="Marianne Sinead Flesland" userId="S::mariasfl@uio.no::facc3627-c0de-4b78-919d-1b6bf2dc9821" providerId="AD" clId="Web-{99BA7D35-09B3-61D9-5826-657F3546CBDB}" dt="2023-04-11T11:34:54.947" v="288" actId="1076"/>
          <ac:picMkLst>
            <pc:docMk/>
            <pc:sldMk cId="3269269740" sldId="4003"/>
            <ac:picMk id="10" creationId="{D1CC65A9-E1A5-865B-333E-82111E10A16C}"/>
          </ac:picMkLst>
        </pc:picChg>
      </pc:sldChg>
      <pc:sldChg chg="addSp modSp">
        <pc:chgData name="Marianne Sinead Flesland" userId="S::mariasfl@uio.no::facc3627-c0de-4b78-919d-1b6bf2dc9821" providerId="AD" clId="Web-{99BA7D35-09B3-61D9-5826-657F3546CBDB}" dt="2023-04-11T11:32:30.477" v="279" actId="20577"/>
        <pc:sldMkLst>
          <pc:docMk/>
          <pc:sldMk cId="3559593138" sldId="4004"/>
        </pc:sldMkLst>
        <pc:spChg chg="mod">
          <ac:chgData name="Marianne Sinead Flesland" userId="S::mariasfl@uio.no::facc3627-c0de-4b78-919d-1b6bf2dc9821" providerId="AD" clId="Web-{99BA7D35-09B3-61D9-5826-657F3546CBDB}" dt="2023-04-11T11:32:30.477" v="279" actId="20577"/>
          <ac:spMkLst>
            <pc:docMk/>
            <pc:sldMk cId="3559593138" sldId="4004"/>
            <ac:spMk id="2" creationId="{ECC33D4C-A20E-152B-7ABF-E403B2A477C3}"/>
          </ac:spMkLst>
        </pc:spChg>
        <pc:spChg chg="mod">
          <ac:chgData name="Marianne Sinead Flesland" userId="S::mariasfl@uio.no::facc3627-c0de-4b78-919d-1b6bf2dc9821" providerId="AD" clId="Web-{99BA7D35-09B3-61D9-5826-657F3546CBDB}" dt="2023-04-11T11:03:51.958" v="2" actId="20577"/>
          <ac:spMkLst>
            <pc:docMk/>
            <pc:sldMk cId="3559593138" sldId="4004"/>
            <ac:spMk id="5" creationId="{F4D1437C-5665-BFBB-B61B-07CB1C7F9E02}"/>
          </ac:spMkLst>
        </pc:spChg>
        <pc:spChg chg="add">
          <ac:chgData name="Marianne Sinead Flesland" userId="S::mariasfl@uio.no::facc3627-c0de-4b78-919d-1b6bf2dc9821" providerId="AD" clId="Web-{99BA7D35-09B3-61D9-5826-657F3546CBDB}" dt="2023-04-11T11:27:59.490" v="187"/>
          <ac:spMkLst>
            <pc:docMk/>
            <pc:sldMk cId="3559593138" sldId="4004"/>
            <ac:spMk id="8" creationId="{71CDD0DF-F5A2-EB29-2BDD-4C49644D80D8}"/>
          </ac:spMkLst>
        </pc:spChg>
        <pc:picChg chg="add mod">
          <ac:chgData name="Marianne Sinead Flesland" userId="S::mariasfl@uio.no::facc3627-c0de-4b78-919d-1b6bf2dc9821" providerId="AD" clId="Web-{99BA7D35-09B3-61D9-5826-657F3546CBDB}" dt="2023-04-11T11:18:11.686" v="128" actId="1076"/>
          <ac:picMkLst>
            <pc:docMk/>
            <pc:sldMk cId="3559593138" sldId="4004"/>
            <ac:picMk id="6" creationId="{7C0EA338-5487-2A84-3B25-34167CC4709B}"/>
          </ac:picMkLst>
        </pc:picChg>
      </pc:sldChg>
      <pc:sldChg chg="addSp modSp">
        <pc:chgData name="Marianne Sinead Flesland" userId="S::mariasfl@uio.no::facc3627-c0de-4b78-919d-1b6bf2dc9821" providerId="AD" clId="Web-{99BA7D35-09B3-61D9-5826-657F3546CBDB}" dt="2023-04-11T13:16:04.705" v="496" actId="20577"/>
        <pc:sldMkLst>
          <pc:docMk/>
          <pc:sldMk cId="2655227272" sldId="4005"/>
        </pc:sldMkLst>
        <pc:spChg chg="mod">
          <ac:chgData name="Marianne Sinead Flesland" userId="S::mariasfl@uio.no::facc3627-c0de-4b78-919d-1b6bf2dc9821" providerId="AD" clId="Web-{99BA7D35-09B3-61D9-5826-657F3546CBDB}" dt="2023-04-11T13:16:04.705" v="496" actId="20577"/>
          <ac:spMkLst>
            <pc:docMk/>
            <pc:sldMk cId="2655227272" sldId="4005"/>
            <ac:spMk id="2" creationId="{4EFB4B53-17C6-51B6-3C35-D1D805CF26F1}"/>
          </ac:spMkLst>
        </pc:spChg>
        <pc:spChg chg="mod">
          <ac:chgData name="Marianne Sinead Flesland" userId="S::mariasfl@uio.no::facc3627-c0de-4b78-919d-1b6bf2dc9821" providerId="AD" clId="Web-{99BA7D35-09B3-61D9-5826-657F3546CBDB}" dt="2023-04-11T11:41:17.904" v="291" actId="20577"/>
          <ac:spMkLst>
            <pc:docMk/>
            <pc:sldMk cId="2655227272" sldId="4005"/>
            <ac:spMk id="5" creationId="{C82A5E71-F74E-8536-E588-D432B803A8D2}"/>
          </ac:spMkLst>
        </pc:spChg>
        <pc:picChg chg="add mod">
          <ac:chgData name="Marianne Sinead Flesland" userId="S::mariasfl@uio.no::facc3627-c0de-4b78-919d-1b6bf2dc9821" providerId="AD" clId="Web-{99BA7D35-09B3-61D9-5826-657F3546CBDB}" dt="2023-04-11T11:52:03.802" v="456" actId="1076"/>
          <ac:picMkLst>
            <pc:docMk/>
            <pc:sldMk cId="2655227272" sldId="4005"/>
            <ac:picMk id="7" creationId="{9D797AB6-4762-A322-4511-7FFB7929ED48}"/>
          </ac:picMkLst>
        </pc:picChg>
      </pc:sldChg>
    </pc:docChg>
  </pc:docChgLst>
  <pc:docChgLst>
    <pc:chgData name="Marianne Sinead Flesland" userId="S::mariasfl@uio.no::facc3627-c0de-4b78-919d-1b6bf2dc9821" providerId="AD" clId="Web-{79ABB56D-BE75-429A-9E7C-799AF4A3B953}"/>
    <pc:docChg chg="addSld modSld">
      <pc:chgData name="Marianne Sinead Flesland" userId="S::mariasfl@uio.no::facc3627-c0de-4b78-919d-1b6bf2dc9821" providerId="AD" clId="Web-{79ABB56D-BE75-429A-9E7C-799AF4A3B953}" dt="2023-04-03T11:58:34.834" v="2473" actId="14100"/>
      <pc:docMkLst>
        <pc:docMk/>
      </pc:docMkLst>
      <pc:sldChg chg="addSp modSp">
        <pc:chgData name="Marianne Sinead Flesland" userId="S::mariasfl@uio.no::facc3627-c0de-4b78-919d-1b6bf2dc9821" providerId="AD" clId="Web-{79ABB56D-BE75-429A-9E7C-799AF4A3B953}" dt="2023-04-03T11:58:34.834" v="2473" actId="14100"/>
        <pc:sldMkLst>
          <pc:docMk/>
          <pc:sldMk cId="3269269740" sldId="4003"/>
        </pc:sldMkLst>
        <pc:spChg chg="mod">
          <ac:chgData name="Marianne Sinead Flesland" userId="S::mariasfl@uio.no::facc3627-c0de-4b78-919d-1b6bf2dc9821" providerId="AD" clId="Web-{79ABB56D-BE75-429A-9E7C-799AF4A3B953}" dt="2023-04-03T11:57:13.521" v="2408" actId="20577"/>
          <ac:spMkLst>
            <pc:docMk/>
            <pc:sldMk cId="3269269740" sldId="4003"/>
            <ac:spMk id="2" creationId="{C1BB1884-A2E3-AF50-3768-5B677C0D5A7E}"/>
          </ac:spMkLst>
        </pc:spChg>
        <pc:spChg chg="mod">
          <ac:chgData name="Marianne Sinead Flesland" userId="S::mariasfl@uio.no::facc3627-c0de-4b78-919d-1b6bf2dc9821" providerId="AD" clId="Web-{79ABB56D-BE75-429A-9E7C-799AF4A3B953}" dt="2023-04-03T11:06:09.784" v="1527" actId="20577"/>
          <ac:spMkLst>
            <pc:docMk/>
            <pc:sldMk cId="3269269740" sldId="4003"/>
            <ac:spMk id="5" creationId="{E847F357-FC96-B11A-9FEE-E31E5D1FB814}"/>
          </ac:spMkLst>
        </pc:spChg>
        <pc:spChg chg="add mod">
          <ac:chgData name="Marianne Sinead Flesland" userId="S::mariasfl@uio.no::facc3627-c0de-4b78-919d-1b6bf2dc9821" providerId="AD" clId="Web-{79ABB56D-BE75-429A-9E7C-799AF4A3B953}" dt="2023-04-03T11:58:34.834" v="2473" actId="14100"/>
          <ac:spMkLst>
            <pc:docMk/>
            <pc:sldMk cId="3269269740" sldId="4003"/>
            <ac:spMk id="6" creationId="{52CC1725-28C1-DF2C-0918-8A3652333A3D}"/>
          </ac:spMkLst>
        </pc:spChg>
        <pc:spChg chg="add mod">
          <ac:chgData name="Marianne Sinead Flesland" userId="S::mariasfl@uio.no::facc3627-c0de-4b78-919d-1b6bf2dc9821" providerId="AD" clId="Web-{79ABB56D-BE75-429A-9E7C-799AF4A3B953}" dt="2023-04-03T11:58:18.084" v="2472" actId="20577"/>
          <ac:spMkLst>
            <pc:docMk/>
            <pc:sldMk cId="3269269740" sldId="4003"/>
            <ac:spMk id="7" creationId="{FF0AAE05-1287-397A-C9F3-AF34234590E7}"/>
          </ac:spMkLst>
        </pc:spChg>
      </pc:sldChg>
      <pc:sldChg chg="modSp new modNotes">
        <pc:chgData name="Marianne Sinead Flesland" userId="S::mariasfl@uio.no::facc3627-c0de-4b78-919d-1b6bf2dc9821" providerId="AD" clId="Web-{79ABB56D-BE75-429A-9E7C-799AF4A3B953}" dt="2023-04-03T11:55:13.066" v="2352" actId="20577"/>
        <pc:sldMkLst>
          <pc:docMk/>
          <pc:sldMk cId="3559593138" sldId="4004"/>
        </pc:sldMkLst>
        <pc:spChg chg="mod">
          <ac:chgData name="Marianne Sinead Flesland" userId="S::mariasfl@uio.no::facc3627-c0de-4b78-919d-1b6bf2dc9821" providerId="AD" clId="Web-{79ABB56D-BE75-429A-9E7C-799AF4A3B953}" dt="2023-04-03T11:55:13.066" v="2352" actId="20577"/>
          <ac:spMkLst>
            <pc:docMk/>
            <pc:sldMk cId="3559593138" sldId="4004"/>
            <ac:spMk id="2" creationId="{ECC33D4C-A20E-152B-7ABF-E403B2A477C3}"/>
          </ac:spMkLst>
        </pc:spChg>
        <pc:spChg chg="mod">
          <ac:chgData name="Marianne Sinead Flesland" userId="S::mariasfl@uio.no::facc3627-c0de-4b78-919d-1b6bf2dc9821" providerId="AD" clId="Web-{79ABB56D-BE75-429A-9E7C-799AF4A3B953}" dt="2023-04-03T11:06:03.065" v="1522" actId="20577"/>
          <ac:spMkLst>
            <pc:docMk/>
            <pc:sldMk cId="3559593138" sldId="4004"/>
            <ac:spMk id="5" creationId="{F4D1437C-5665-BFBB-B61B-07CB1C7F9E02}"/>
          </ac:spMkLst>
        </pc:spChg>
      </pc:sldChg>
      <pc:sldChg chg="modSp new">
        <pc:chgData name="Marianne Sinead Flesland" userId="S::mariasfl@uio.no::facc3627-c0de-4b78-919d-1b6bf2dc9821" providerId="AD" clId="Web-{79ABB56D-BE75-429A-9E7C-799AF4A3B953}" dt="2023-04-03T11:45:59.013" v="2097" actId="20577"/>
        <pc:sldMkLst>
          <pc:docMk/>
          <pc:sldMk cId="2655227272" sldId="4005"/>
        </pc:sldMkLst>
        <pc:spChg chg="mod">
          <ac:chgData name="Marianne Sinead Flesland" userId="S::mariasfl@uio.no::facc3627-c0de-4b78-919d-1b6bf2dc9821" providerId="AD" clId="Web-{79ABB56D-BE75-429A-9E7C-799AF4A3B953}" dt="2023-04-03T11:45:59.013" v="2097" actId="20577"/>
          <ac:spMkLst>
            <pc:docMk/>
            <pc:sldMk cId="2655227272" sldId="4005"/>
            <ac:spMk id="2" creationId="{4EFB4B53-17C6-51B6-3C35-D1D805CF26F1}"/>
          </ac:spMkLst>
        </pc:spChg>
        <pc:spChg chg="mod">
          <ac:chgData name="Marianne Sinead Flesland" userId="S::mariasfl@uio.no::facc3627-c0de-4b78-919d-1b6bf2dc9821" providerId="AD" clId="Web-{79ABB56D-BE75-429A-9E7C-799AF4A3B953}" dt="2023-04-03T11:06:07.221" v="1525" actId="20577"/>
          <ac:spMkLst>
            <pc:docMk/>
            <pc:sldMk cId="2655227272" sldId="4005"/>
            <ac:spMk id="5" creationId="{C82A5E71-F74E-8536-E588-D432B803A8D2}"/>
          </ac:spMkLst>
        </pc:spChg>
      </pc:sldChg>
    </pc:docChg>
  </pc:docChgLst>
  <pc:docChgLst>
    <pc:chgData name="Marianne Sinead Flesland" userId="S::mariasfl@uio.no::facc3627-c0de-4b78-919d-1b6bf2dc9821" providerId="AD" clId="Web-{54B70266-2BD5-A442-EF66-EBB8C9930A25}"/>
    <pc:docChg chg="modSld">
      <pc:chgData name="Marianne Sinead Flesland" userId="S::mariasfl@uio.no::facc3627-c0de-4b78-919d-1b6bf2dc9821" providerId="AD" clId="Web-{54B70266-2BD5-A442-EF66-EBB8C9930A25}" dt="2023-04-11T08:56:19.044" v="7" actId="20577"/>
      <pc:docMkLst>
        <pc:docMk/>
      </pc:docMkLst>
      <pc:sldChg chg="modSp">
        <pc:chgData name="Marianne Sinead Flesland" userId="S::mariasfl@uio.no::facc3627-c0de-4b78-919d-1b6bf2dc9821" providerId="AD" clId="Web-{54B70266-2BD5-A442-EF66-EBB8C9930A25}" dt="2023-04-11T08:56:19.044" v="7" actId="20577"/>
        <pc:sldMkLst>
          <pc:docMk/>
          <pc:sldMk cId="2655227272" sldId="4005"/>
        </pc:sldMkLst>
        <pc:spChg chg="mod">
          <ac:chgData name="Marianne Sinead Flesland" userId="S::mariasfl@uio.no::facc3627-c0de-4b78-919d-1b6bf2dc9821" providerId="AD" clId="Web-{54B70266-2BD5-A442-EF66-EBB8C9930A25}" dt="2023-04-11T08:56:19.044" v="7" actId="20577"/>
          <ac:spMkLst>
            <pc:docMk/>
            <pc:sldMk cId="2655227272" sldId="4005"/>
            <ac:spMk id="2" creationId="{4EFB4B53-17C6-51B6-3C35-D1D805CF26F1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4283" cy="49702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08981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8646" y="9408981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4283" cy="49702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6" y="0"/>
            <a:ext cx="2944283" cy="49702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3/2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38250"/>
            <a:ext cx="5943600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67263"/>
            <a:ext cx="5435600" cy="39004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08981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6" y="9408981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/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79314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FE4793-8F41-48A4-AC3F-79AA8E36716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98461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FE4793-8F41-48A4-AC3F-79AA8E36716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78899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B8C67E-A4F8-4B3B-98D5-406F08A5FFE9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39322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>
              <a:cs typeface="Calibri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1304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>
                <a:cs typeface="Calibri"/>
              </a:rPr>
              <a:t>Differanse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mellom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årlig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og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flerårlig</a:t>
            </a:r>
            <a:r>
              <a:rPr lang="en-US">
                <a:cs typeface="Calibri"/>
              </a:rPr>
              <a:t> er minimal- </a:t>
            </a:r>
            <a:r>
              <a:rPr lang="en-US" err="1">
                <a:cs typeface="Calibri"/>
              </a:rPr>
              <a:t>hva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som</a:t>
            </a:r>
            <a:r>
              <a:rPr lang="en-US">
                <a:cs typeface="Calibri"/>
              </a:rPr>
              <a:t> er MÅ </a:t>
            </a:r>
            <a:r>
              <a:rPr lang="en-US" err="1">
                <a:cs typeface="Calibri"/>
              </a:rPr>
              <a:t>kriterier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når</a:t>
            </a:r>
            <a:r>
              <a:rPr lang="en-US">
                <a:cs typeface="Calibri"/>
              </a:rPr>
              <a:t> man </a:t>
            </a:r>
            <a:r>
              <a:rPr lang="en-US" err="1">
                <a:cs typeface="Calibri"/>
              </a:rPr>
              <a:t>søker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samt</a:t>
            </a:r>
            <a:r>
              <a:rPr lang="en-US">
                <a:cs typeface="Calibri"/>
              </a:rPr>
              <a:t> at man I </a:t>
            </a:r>
            <a:r>
              <a:rPr lang="en-US" err="1">
                <a:cs typeface="Calibri"/>
              </a:rPr>
              <a:t>flerårig</a:t>
            </a:r>
            <a:r>
              <a:rPr lang="en-US">
                <a:cs typeface="Calibri"/>
              </a:rPr>
              <a:t> </a:t>
            </a:r>
            <a:r>
              <a:rPr lang="en-US" err="1">
                <a:cs typeface="Calibri"/>
              </a:rPr>
              <a:t>får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opp</a:t>
            </a:r>
            <a:r>
              <a:rPr lang="en-US">
                <a:cs typeface="Calibri"/>
              </a:rPr>
              <a:t> </a:t>
            </a:r>
            <a:r>
              <a:rPr lang="en-US" err="1">
                <a:cs typeface="Calibri"/>
              </a:rPr>
              <a:t>Finansiør</a:t>
            </a:r>
            <a:r>
              <a:rPr lang="en-US">
                <a:cs typeface="Calibri"/>
              </a:rPr>
              <a:t>.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69288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0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5.png"/><Relationship Id="rId7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10.svg"/><Relationship Id="rId4" Type="http://schemas.openxmlformats.org/officeDocument/2006/relationships/image" Target="../media/image6.svg"/><Relationship Id="rId9" Type="http://schemas.openxmlformats.org/officeDocument/2006/relationships/image" Target="../media/image9.png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0.sv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5.png"/><Relationship Id="rId7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10.svg"/><Relationship Id="rId4" Type="http://schemas.openxmlformats.org/officeDocument/2006/relationships/image" Target="../media/image6.svg"/><Relationship Id="rId9" Type="http://schemas.openxmlformats.org/officeDocument/2006/relationships/image" Target="../media/image9.pn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0.sv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0.sv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0.sv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0.svg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5.png"/><Relationship Id="rId7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10.svg"/><Relationship Id="rId4" Type="http://schemas.openxmlformats.org/officeDocument/2006/relationships/image" Target="../media/image6.svg"/><Relationship Id="rId9" Type="http://schemas.openxmlformats.org/officeDocument/2006/relationships/image" Target="../media/image9.png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0.sv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6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6.sv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7.png"/><Relationship Id="rId7" Type="http://schemas.openxmlformats.org/officeDocument/2006/relationships/image" Target="../media/image5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svg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0.svg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5.png"/><Relationship Id="rId7" Type="http://schemas.openxmlformats.org/officeDocument/2006/relationships/image" Target="../media/image7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10.svg"/><Relationship Id="rId4" Type="http://schemas.openxmlformats.org/officeDocument/2006/relationships/image" Target="../media/image6.svg"/><Relationship Id="rId9" Type="http://schemas.openxmlformats.org/officeDocument/2006/relationships/image" Target="../media/image9.png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2.svg"/><Relationship Id="rId7" Type="http://schemas.openxmlformats.org/officeDocument/2006/relationships/image" Target="../media/image10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Relationship Id="rId9" Type="http://schemas.openxmlformats.org/officeDocument/2006/relationships/image" Target="../media/image6.svg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0.sv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618555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/>
              <a:t>Navn på institutt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236681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/>
              <a:t>Punkt A</a:t>
            </a:r>
          </a:p>
          <a:p>
            <a:pPr lvl="0"/>
            <a:r>
              <a:rPr lang="nb-NO"/>
              <a:t>Punkt B</a:t>
            </a:r>
          </a:p>
          <a:p>
            <a:pPr lvl="0"/>
            <a:r>
              <a:rPr lang="nb-NO"/>
              <a:t>Punkt C</a:t>
            </a:r>
          </a:p>
          <a:p>
            <a:pPr lvl="0"/>
            <a:r>
              <a:rPr lang="nb-NO"/>
              <a:t>Punkt 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473826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A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B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C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D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E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F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65442260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Trykk - &gt; Sett inn -&gt; Bilde for å endre eller sette inn bilde</a:t>
            </a:r>
            <a:endParaRPr lang="en-US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86776127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Trykk - &gt; Sett inn -&gt; Bilde for å endre eller sette inn bilde</a:t>
            </a:r>
            <a:endParaRPr lang="en-US"/>
          </a:p>
          <a:p>
            <a:endParaRPr lang="en-US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373922265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1000651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50086200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4302096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771535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/>
              <a:t>Navn på institutt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52589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0082994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6188974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42322815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9388949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709542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2780333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765414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/>
              <a:t>Punkt A</a:t>
            </a:r>
          </a:p>
          <a:p>
            <a:pPr lvl="0"/>
            <a:r>
              <a:rPr lang="nb-NO"/>
              <a:t>Punkt B</a:t>
            </a:r>
          </a:p>
          <a:p>
            <a:pPr lvl="0"/>
            <a:r>
              <a:rPr lang="nb-NO"/>
              <a:t>Punkt C</a:t>
            </a:r>
          </a:p>
          <a:p>
            <a:pPr lvl="0"/>
            <a:r>
              <a:rPr lang="nb-NO"/>
              <a:t>Punkt D</a:t>
            </a:r>
            <a:endParaRPr lang="en-US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A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B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C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D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E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F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Trykk - &gt; Sett inn -&gt; Bilde for å endre eller sette inn bilde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Trykk - &gt; Sett inn -&gt; Bilde for å endre eller sette inn bilde</a:t>
            </a:r>
            <a:endParaRPr lang="en-US"/>
          </a:p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Sitat</a:t>
            </a:r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6"/>
          </a:xfrm>
        </p:spPr>
        <p:txBody>
          <a:bodyPr anchor="t"/>
          <a:lstStyle>
            <a:lvl1pPr algn="l">
              <a:defRPr sz="3840" b="1" cap="all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5"/>
            <a:ext cx="10363200" cy="1500186"/>
          </a:xfrm>
        </p:spPr>
        <p:txBody>
          <a:bodyPr anchor="b"/>
          <a:lstStyle>
            <a:lvl1pPr marL="0" indent="0">
              <a:buNone/>
              <a:defRPr sz="1920"/>
            </a:lvl1pPr>
            <a:lvl2pPr marL="435510" indent="0">
              <a:buNone/>
              <a:defRPr sz="1680"/>
            </a:lvl2pPr>
            <a:lvl3pPr marL="871021" indent="0">
              <a:buNone/>
              <a:defRPr sz="1560"/>
            </a:lvl3pPr>
            <a:lvl4pPr marL="1306531" indent="0">
              <a:buNone/>
              <a:defRPr sz="1320"/>
            </a:lvl4pPr>
            <a:lvl5pPr marL="1742041" indent="0">
              <a:buNone/>
              <a:defRPr sz="1320"/>
            </a:lvl5pPr>
            <a:lvl6pPr marL="2177552" indent="0">
              <a:buNone/>
              <a:defRPr sz="1320"/>
            </a:lvl6pPr>
            <a:lvl7pPr marL="2613062" indent="0">
              <a:buNone/>
              <a:defRPr sz="1320"/>
            </a:lvl7pPr>
            <a:lvl8pPr marL="3048574" indent="0">
              <a:buNone/>
              <a:defRPr sz="1320"/>
            </a:lvl8pPr>
            <a:lvl9pPr marL="3484084" indent="0">
              <a:buNone/>
              <a:defRPr sz="132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F50365-4E4D-4100-BCA3-55140E883697}" type="datetime1">
              <a:rPr lang="nb-NO" altLang="nb-NO"/>
              <a:pPr>
                <a:defRPr/>
              </a:pPr>
              <a:t>28.03.2023</a:t>
            </a:fld>
            <a:endParaRPr lang="nb-NO" altLang="nb-NO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8916B1-5B0A-4BA8-8794-3D037D7341E7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7856276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3375167"/>
            <a:ext cx="5716962" cy="1547605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</p:spTree>
    <p:extLst>
      <p:ext uri="{BB962C8B-B14F-4D97-AF65-F5344CB8AC3E}">
        <p14:creationId xmlns:p14="http://schemas.microsoft.com/office/powerpoint/2010/main" val="32968687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UiO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69DA1E-EAF3-4579-9C13-A3B45E22F6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3375167"/>
            <a:ext cx="5716962" cy="1547605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174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UiO Fullbredde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334682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586699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kapfor1, kapfor4, kapfor5, kapfor6, kapfor7</a:t>
            </a:r>
          </a:p>
        </p:txBody>
      </p:sp>
    </p:spTree>
    <p:extLst>
      <p:ext uri="{BB962C8B-B14F-4D97-AF65-F5344CB8AC3E}">
        <p14:creationId xmlns:p14="http://schemas.microsoft.com/office/powerpoint/2010/main" val="232820973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UiO Fullbredde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826FC79-CEAE-42C3-9725-FAEABEBE65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334682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586699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Enhet</a:t>
            </a:r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650529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828074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 hidden="1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636484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Uthevet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3634369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1685776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1325565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Uthevet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/>
              <a:t>Navn på institutt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275546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933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/>
              <a:t>Punkt A</a:t>
            </a:r>
          </a:p>
          <a:p>
            <a:pPr lvl="0"/>
            <a:r>
              <a:rPr lang="nb-NO"/>
              <a:t>Punkt B</a:t>
            </a:r>
          </a:p>
          <a:p>
            <a:pPr lvl="0"/>
            <a:r>
              <a:rPr lang="nb-NO"/>
              <a:t>Punkt C</a:t>
            </a:r>
          </a:p>
          <a:p>
            <a:pPr lvl="0"/>
            <a:r>
              <a:rPr lang="nb-NO"/>
              <a:t>Punkt D</a:t>
            </a:r>
            <a:endParaRPr lang="en-US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78918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933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A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B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C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D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E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F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153888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Trykk - &gt; Sett inn -&gt; Bilde for å endre eller sette inn bilde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3383209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Trykk - &gt; Sett inn -&gt; Bilde for å endre eller sette inn bilde</a:t>
            </a:r>
            <a:endParaRPr lang="en-US"/>
          </a:p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Sitat</a:t>
            </a:r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604150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80169" y="1704042"/>
            <a:ext cx="11431663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491342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5469089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70" y="1704042"/>
            <a:ext cx="5469088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03335"/>
            <a:ext cx="5469089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04042"/>
            <a:ext cx="5469089" cy="4354851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542788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59098" y="371518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59097" y="5875993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00DEDF7-A715-4410-ACF2-29795822F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5715831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F0A05AF4-63D3-4127-BC34-6BD82C03AF3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5715831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9" y="1704042"/>
            <a:ext cx="5715831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492235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19F22D83-B5FE-4078-A904-43A0015893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80168" y="1180008"/>
            <a:ext cx="11431664" cy="4720030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478562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E1DAFF44-670E-4F4C-85A7-C39E379A8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80168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79851" y="1710199"/>
            <a:ext cx="352431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F24F2E76-C57A-43E9-AE90-9A5885C83A59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377360" y="2793528"/>
            <a:ext cx="3524319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40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1" y="1720927"/>
            <a:ext cx="352431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3FA1C9B2-210C-4D25-800A-903735EC531A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4333839" y="2793528"/>
            <a:ext cx="3524320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3" y="1710199"/>
            <a:ext cx="352463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20B93BE-FC97-4838-B295-13DE19DE7FB1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8284385" y="2793528"/>
            <a:ext cx="3524639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435937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1794FAB1-D6B5-4A8A-91E4-BEB7326ADF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80168" y="1002716"/>
            <a:ext cx="3558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81050" y="2604949"/>
            <a:ext cx="3558098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8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02716"/>
            <a:ext cx="3556173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22127" y="2604949"/>
            <a:ext cx="3553363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6509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02716"/>
            <a:ext cx="3556173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8468" y="2604949"/>
            <a:ext cx="3553363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2851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76442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80168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8" y="2307944"/>
            <a:ext cx="2703713" cy="336101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6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6" y="2307943"/>
            <a:ext cx="2703713" cy="336101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2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2" y="2307944"/>
            <a:ext cx="2703713" cy="336101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8" y="2307943"/>
            <a:ext cx="2703713" cy="33610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82608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>
            <a:extLst>
              <a:ext uri="{FF2B5EF4-FFF2-40B4-BE49-F238E27FC236}">
                <a16:creationId xmlns:a16="http://schemas.microsoft.com/office/drawing/2014/main" id="{7F856006-F837-40CC-A206-116358E51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80167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2604949"/>
            <a:ext cx="2716858" cy="494749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80167" y="3292760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7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8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8" y="3292761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8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8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8" y="3292761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40821"/>
            <a:ext cx="2716858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16858" cy="237619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13067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00F89B0E-F421-45EF-8C78-C84FEFC483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F7BB50C2-6F95-4C0A-8590-741501231A71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80168" y="1729109"/>
            <a:ext cx="5611759" cy="3948448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0168" y="5875993"/>
            <a:ext cx="5611760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2201" y="1729109"/>
            <a:ext cx="5611759" cy="3948448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00072" y="5875993"/>
            <a:ext cx="5583887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432556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>
            <a:extLst>
              <a:ext uri="{FF2B5EF4-FFF2-40B4-BE49-F238E27FC236}">
                <a16:creationId xmlns:a16="http://schemas.microsoft.com/office/drawing/2014/main" id="{53F87D86-02F1-4288-ADF3-CFC53D24C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78A54228-A18C-49D4-8BAE-55234982E14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0168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80170" y="1710901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6109106-4360-48AE-97EE-22C402C46E3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40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42" y="1703168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4" y="1703168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15973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5C0B4E6-5502-441C-BDE1-D20B190815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180008"/>
            <a:ext cx="12192000" cy="567799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47365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372672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3375167"/>
            <a:ext cx="5716962" cy="1547605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UiO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69DA1E-EAF3-4579-9C13-A3B45E22F6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3375167"/>
            <a:ext cx="5716962" cy="1547605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UiO Fullbredde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334682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586699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kapfor1, kapfor4, kapfor5, kapfor6, kapfor7</a:t>
            </a: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UiO Fullbredde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826FC79-CEAE-42C3-9725-FAEABEBE65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334682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586699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Enhet</a:t>
            </a:r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 hidden="1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Uthevet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Uthevet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/>
              <a:t>Navn på institutt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Enh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933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/>
              <a:t>Punkt A</a:t>
            </a:r>
          </a:p>
          <a:p>
            <a:pPr lvl="0"/>
            <a:r>
              <a:rPr lang="nb-NO"/>
              <a:t>Punkt B</a:t>
            </a:r>
          </a:p>
          <a:p>
            <a:pPr lvl="0"/>
            <a:r>
              <a:rPr lang="nb-NO"/>
              <a:t>Punkt C</a:t>
            </a:r>
          </a:p>
          <a:p>
            <a:pPr lvl="0"/>
            <a:r>
              <a:rPr lang="nb-NO"/>
              <a:t>Punkt D</a:t>
            </a:r>
            <a:endParaRPr lang="en-US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933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A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B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C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D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E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F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Trykk - &gt; Sett inn -&gt; Bilde for å endre eller sette inn bilde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Trykk - &gt; Sett inn -&gt; Bilde for å endre eller sette inn bilde</a:t>
            </a:r>
            <a:endParaRPr lang="en-US"/>
          </a:p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Sitat</a:t>
            </a:r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80169" y="1704042"/>
            <a:ext cx="11431663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5469089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70" y="1704042"/>
            <a:ext cx="5469088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03335"/>
            <a:ext cx="5469089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04042"/>
            <a:ext cx="5469089" cy="4354851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59098" y="371518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59097" y="5875993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00DEDF7-A715-4410-ACF2-29795822F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5715831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F0A05AF4-63D3-4127-BC34-6BD82C03AF3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5715831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9" y="1704042"/>
            <a:ext cx="5715831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19F22D83-B5FE-4078-A904-43A0015893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80168" y="1180008"/>
            <a:ext cx="11431664" cy="4720030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E1DAFF44-670E-4F4C-85A7-C39E379A8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80168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79851" y="1710199"/>
            <a:ext cx="352431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F24F2E76-C57A-43E9-AE90-9A5885C83A59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377360" y="2793528"/>
            <a:ext cx="3524319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40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1" y="1720927"/>
            <a:ext cx="352431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3FA1C9B2-210C-4D25-800A-903735EC531A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4333839" y="2793528"/>
            <a:ext cx="3524320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3" y="1710199"/>
            <a:ext cx="352463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20B93BE-FC97-4838-B295-13DE19DE7FB1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8284385" y="2793528"/>
            <a:ext cx="3524639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1794FAB1-D6B5-4A8A-91E4-BEB7326ADF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80168" y="1002716"/>
            <a:ext cx="3558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81050" y="2604949"/>
            <a:ext cx="3558098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8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02716"/>
            <a:ext cx="3556173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22127" y="2604949"/>
            <a:ext cx="3553363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6509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02716"/>
            <a:ext cx="3556173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8468" y="2604949"/>
            <a:ext cx="3553363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2851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80168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8" y="2307944"/>
            <a:ext cx="2703713" cy="336101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6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6" y="2307943"/>
            <a:ext cx="2703713" cy="336101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2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2" y="2307944"/>
            <a:ext cx="2703713" cy="336101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8" y="2307943"/>
            <a:ext cx="2703713" cy="33610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>
            <a:extLst>
              <a:ext uri="{FF2B5EF4-FFF2-40B4-BE49-F238E27FC236}">
                <a16:creationId xmlns:a16="http://schemas.microsoft.com/office/drawing/2014/main" id="{7F856006-F837-40CC-A206-116358E51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80167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2604949"/>
            <a:ext cx="2716858" cy="494749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80167" y="3292760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7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8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8" y="3292761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8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8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8" y="3292761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40821"/>
            <a:ext cx="2716858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16858" cy="237619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00F89B0E-F421-45EF-8C78-C84FEFC483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F7BB50C2-6F95-4C0A-8590-741501231A71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80168" y="1729109"/>
            <a:ext cx="5611759" cy="3948448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0168" y="5875993"/>
            <a:ext cx="5611760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2201" y="1729109"/>
            <a:ext cx="5611759" cy="3948448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00072" y="5875993"/>
            <a:ext cx="5583887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>
            <a:extLst>
              <a:ext uri="{FF2B5EF4-FFF2-40B4-BE49-F238E27FC236}">
                <a16:creationId xmlns:a16="http://schemas.microsoft.com/office/drawing/2014/main" id="{53F87D86-02F1-4288-ADF3-CFC53D24C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78A54228-A18C-49D4-8BAE-55234982E14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0168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80170" y="1710901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6109106-4360-48AE-97EE-22C402C46E3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40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42" y="1703168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4" y="1703168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5C0B4E6-5502-441C-BDE1-D20B190815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180008"/>
            <a:ext cx="12192000" cy="567799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943C17-0871-4013-A8A3-17462C36903A}" type="datetimeFigureOut">
              <a:rPr lang="en-US" smtClean="0"/>
              <a:t>3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66A90F-2EF8-4F32-9163-C362233C7C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762773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34" y="0"/>
            <a:ext cx="1218353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1177540" y="2300554"/>
            <a:ext cx="10058400" cy="1143000"/>
          </a:xfrm>
        </p:spPr>
        <p:txBody>
          <a:bodyPr anchor="b"/>
          <a:lstStyle>
            <a:lvl1pPr>
              <a:defRPr sz="192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177540" y="3429000"/>
            <a:ext cx="10058400" cy="17526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3167764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88CF92-FCC2-4FBB-9F8C-8ED429043180}" type="datetime1">
              <a:rPr lang="nb-NO" altLang="nb-NO"/>
              <a:pPr>
                <a:defRPr/>
              </a:pPr>
              <a:t>28.03.2023</a:t>
            </a:fld>
            <a:endParaRPr lang="nb-NO" altLang="nb-NO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35ACD5-0D42-42F7-B111-2AEA8F2C3631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1891145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6"/>
          </a:xfrm>
        </p:spPr>
        <p:txBody>
          <a:bodyPr anchor="t"/>
          <a:lstStyle>
            <a:lvl1pPr algn="l">
              <a:defRPr sz="3840" b="1" cap="all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5"/>
            <a:ext cx="10363200" cy="1500186"/>
          </a:xfrm>
        </p:spPr>
        <p:txBody>
          <a:bodyPr anchor="b"/>
          <a:lstStyle>
            <a:lvl1pPr marL="0" indent="0">
              <a:buNone/>
              <a:defRPr sz="1920"/>
            </a:lvl1pPr>
            <a:lvl2pPr marL="435510" indent="0">
              <a:buNone/>
              <a:defRPr sz="1680"/>
            </a:lvl2pPr>
            <a:lvl3pPr marL="871021" indent="0">
              <a:buNone/>
              <a:defRPr sz="1560"/>
            </a:lvl3pPr>
            <a:lvl4pPr marL="1306531" indent="0">
              <a:buNone/>
              <a:defRPr sz="1320"/>
            </a:lvl4pPr>
            <a:lvl5pPr marL="1742041" indent="0">
              <a:buNone/>
              <a:defRPr sz="1320"/>
            </a:lvl5pPr>
            <a:lvl6pPr marL="2177552" indent="0">
              <a:buNone/>
              <a:defRPr sz="1320"/>
            </a:lvl6pPr>
            <a:lvl7pPr marL="2613062" indent="0">
              <a:buNone/>
              <a:defRPr sz="1320"/>
            </a:lvl7pPr>
            <a:lvl8pPr marL="3048574" indent="0">
              <a:buNone/>
              <a:defRPr sz="1320"/>
            </a:lvl8pPr>
            <a:lvl9pPr marL="3484084" indent="0">
              <a:buNone/>
              <a:defRPr sz="132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F50365-4E4D-4100-BCA3-55140E883697}" type="datetime1">
              <a:rPr lang="nb-NO" altLang="nb-NO"/>
              <a:pPr>
                <a:defRPr/>
              </a:pPr>
              <a:t>28.03.2023</a:t>
            </a:fld>
            <a:endParaRPr lang="nb-NO" altLang="nb-NO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8916B1-5B0A-4BA8-8794-3D037D7341E7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50660931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20800" y="1981200"/>
            <a:ext cx="5029200" cy="4114800"/>
          </a:xfrm>
        </p:spPr>
        <p:txBody>
          <a:bodyPr/>
          <a:lstStyle>
            <a:lvl1pPr>
              <a:defRPr sz="2640"/>
            </a:lvl1pPr>
            <a:lvl2pPr>
              <a:defRPr sz="2280"/>
            </a:lvl2pPr>
            <a:lvl3pPr>
              <a:defRPr sz="1920"/>
            </a:lvl3pPr>
            <a:lvl4pPr>
              <a:defRPr sz="1680"/>
            </a:lvl4pPr>
            <a:lvl5pPr>
              <a:defRPr sz="1680"/>
            </a:lvl5pPr>
            <a:lvl6pPr>
              <a:defRPr sz="1680"/>
            </a:lvl6pPr>
            <a:lvl7pPr>
              <a:defRPr sz="1680"/>
            </a:lvl7pPr>
            <a:lvl8pPr>
              <a:defRPr sz="1680"/>
            </a:lvl8pPr>
            <a:lvl9pPr>
              <a:defRPr sz="168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53200" y="1981200"/>
            <a:ext cx="5029200" cy="4114800"/>
          </a:xfrm>
        </p:spPr>
        <p:txBody>
          <a:bodyPr/>
          <a:lstStyle>
            <a:lvl1pPr>
              <a:defRPr sz="2640"/>
            </a:lvl1pPr>
            <a:lvl2pPr>
              <a:defRPr sz="2280"/>
            </a:lvl2pPr>
            <a:lvl3pPr>
              <a:defRPr sz="1920"/>
            </a:lvl3pPr>
            <a:lvl4pPr>
              <a:defRPr sz="1680"/>
            </a:lvl4pPr>
            <a:lvl5pPr>
              <a:defRPr sz="1680"/>
            </a:lvl5pPr>
            <a:lvl6pPr>
              <a:defRPr sz="1680"/>
            </a:lvl6pPr>
            <a:lvl7pPr>
              <a:defRPr sz="1680"/>
            </a:lvl7pPr>
            <a:lvl8pPr>
              <a:defRPr sz="1680"/>
            </a:lvl8pPr>
            <a:lvl9pPr>
              <a:defRPr sz="168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41EAC-7996-42D5-9087-B971990E891A}" type="datetime1">
              <a:rPr lang="nb-NO" altLang="nb-NO"/>
              <a:pPr>
                <a:defRPr/>
              </a:pPr>
              <a:t>28.03.2023</a:t>
            </a:fld>
            <a:endParaRPr lang="nb-NO" altLang="nb-NO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670C7C-F512-42E6-8D6D-37AF1A344894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407914596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1535113"/>
            <a:ext cx="5386917" cy="639762"/>
          </a:xfrm>
        </p:spPr>
        <p:txBody>
          <a:bodyPr anchor="b"/>
          <a:lstStyle>
            <a:lvl1pPr marL="0" indent="0">
              <a:buNone/>
              <a:defRPr sz="2280" b="1"/>
            </a:lvl1pPr>
            <a:lvl2pPr marL="435510" indent="0">
              <a:buNone/>
              <a:defRPr sz="1920" b="1"/>
            </a:lvl2pPr>
            <a:lvl3pPr marL="871021" indent="0">
              <a:buNone/>
              <a:defRPr sz="1680" b="1"/>
            </a:lvl3pPr>
            <a:lvl4pPr marL="1306531" indent="0">
              <a:buNone/>
              <a:defRPr sz="1560" b="1"/>
            </a:lvl4pPr>
            <a:lvl5pPr marL="1742041" indent="0">
              <a:buNone/>
              <a:defRPr sz="1560" b="1"/>
            </a:lvl5pPr>
            <a:lvl6pPr marL="2177552" indent="0">
              <a:buNone/>
              <a:defRPr sz="1560" b="1"/>
            </a:lvl6pPr>
            <a:lvl7pPr marL="2613062" indent="0">
              <a:buNone/>
              <a:defRPr sz="1560" b="1"/>
            </a:lvl7pPr>
            <a:lvl8pPr marL="3048574" indent="0">
              <a:buNone/>
              <a:defRPr sz="1560" b="1"/>
            </a:lvl8pPr>
            <a:lvl9pPr marL="3484084" indent="0">
              <a:buNone/>
              <a:defRPr sz="15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2" y="2174876"/>
            <a:ext cx="5386917" cy="3951288"/>
          </a:xfrm>
        </p:spPr>
        <p:txBody>
          <a:bodyPr/>
          <a:lstStyle>
            <a:lvl1pPr>
              <a:defRPr sz="2280"/>
            </a:lvl1pPr>
            <a:lvl2pPr>
              <a:defRPr sz="1920"/>
            </a:lvl2pPr>
            <a:lvl3pPr>
              <a:defRPr sz="1680"/>
            </a:lvl3pPr>
            <a:lvl4pPr>
              <a:defRPr sz="1560"/>
            </a:lvl4pPr>
            <a:lvl5pPr>
              <a:defRPr sz="1560"/>
            </a:lvl5pPr>
            <a:lvl6pPr>
              <a:defRPr sz="1560"/>
            </a:lvl6pPr>
            <a:lvl7pPr>
              <a:defRPr sz="1560"/>
            </a:lvl7pPr>
            <a:lvl8pPr>
              <a:defRPr sz="1560"/>
            </a:lvl8pPr>
            <a:lvl9pPr>
              <a:defRPr sz="15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0" y="1535113"/>
            <a:ext cx="5389033" cy="639762"/>
          </a:xfrm>
        </p:spPr>
        <p:txBody>
          <a:bodyPr anchor="b"/>
          <a:lstStyle>
            <a:lvl1pPr marL="0" indent="0">
              <a:buNone/>
              <a:defRPr sz="2280" b="1"/>
            </a:lvl1pPr>
            <a:lvl2pPr marL="435510" indent="0">
              <a:buNone/>
              <a:defRPr sz="1920" b="1"/>
            </a:lvl2pPr>
            <a:lvl3pPr marL="871021" indent="0">
              <a:buNone/>
              <a:defRPr sz="1680" b="1"/>
            </a:lvl3pPr>
            <a:lvl4pPr marL="1306531" indent="0">
              <a:buNone/>
              <a:defRPr sz="1560" b="1"/>
            </a:lvl4pPr>
            <a:lvl5pPr marL="1742041" indent="0">
              <a:buNone/>
              <a:defRPr sz="1560" b="1"/>
            </a:lvl5pPr>
            <a:lvl6pPr marL="2177552" indent="0">
              <a:buNone/>
              <a:defRPr sz="1560" b="1"/>
            </a:lvl6pPr>
            <a:lvl7pPr marL="2613062" indent="0">
              <a:buNone/>
              <a:defRPr sz="1560" b="1"/>
            </a:lvl7pPr>
            <a:lvl8pPr marL="3048574" indent="0">
              <a:buNone/>
              <a:defRPr sz="1560" b="1"/>
            </a:lvl8pPr>
            <a:lvl9pPr marL="3484084" indent="0">
              <a:buNone/>
              <a:defRPr sz="15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0" y="2174876"/>
            <a:ext cx="5389033" cy="3951288"/>
          </a:xfrm>
        </p:spPr>
        <p:txBody>
          <a:bodyPr/>
          <a:lstStyle>
            <a:lvl1pPr>
              <a:defRPr sz="2280"/>
            </a:lvl1pPr>
            <a:lvl2pPr>
              <a:defRPr sz="1920"/>
            </a:lvl2pPr>
            <a:lvl3pPr>
              <a:defRPr sz="1680"/>
            </a:lvl3pPr>
            <a:lvl4pPr>
              <a:defRPr sz="1560"/>
            </a:lvl4pPr>
            <a:lvl5pPr>
              <a:defRPr sz="1560"/>
            </a:lvl5pPr>
            <a:lvl6pPr>
              <a:defRPr sz="1560"/>
            </a:lvl6pPr>
            <a:lvl7pPr>
              <a:defRPr sz="1560"/>
            </a:lvl7pPr>
            <a:lvl8pPr>
              <a:defRPr sz="1560"/>
            </a:lvl8pPr>
            <a:lvl9pPr>
              <a:defRPr sz="15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7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D6DFD3-5BD6-4FCE-9ED6-13FEA292E7AC}" type="datetime1">
              <a:rPr lang="nb-NO" altLang="nb-NO"/>
              <a:pPr>
                <a:defRPr/>
              </a:pPr>
              <a:t>28.03.2023</a:t>
            </a:fld>
            <a:endParaRPr lang="nb-NO" altLang="nb-NO"/>
          </a:p>
        </p:txBody>
      </p:sp>
      <p:sp>
        <p:nvSpPr>
          <p:cNvPr id="8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37D392-29E3-4CFE-AAF3-CCFF333B8D9D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93119825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BB94B8-B9C8-4F1B-89ED-7C5D1D7619BF}" type="datetime1">
              <a:rPr lang="nb-NO" altLang="nb-NO"/>
              <a:pPr>
                <a:defRPr/>
              </a:pPr>
              <a:t>28.03.2023</a:t>
            </a:fld>
            <a:endParaRPr lang="nb-NO" altLang="nb-NO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A4946C-0E64-4CCE-ACA9-014E45EFACAF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032296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63646F-E7A5-4583-9973-DF4B29E28F19}" type="datetime1">
              <a:rPr lang="nb-NO" altLang="nb-NO"/>
              <a:pPr>
                <a:defRPr/>
              </a:pPr>
              <a:t>28.03.2023</a:t>
            </a:fld>
            <a:endParaRPr lang="nb-NO" altLang="nb-NO"/>
          </a:p>
        </p:txBody>
      </p:sp>
      <p:sp>
        <p:nvSpPr>
          <p:cNvPr id="3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87EC78-B924-4ED5-87EC-7C85B98860FC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41875498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1920" b="1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4"/>
          </a:xfrm>
        </p:spPr>
        <p:txBody>
          <a:bodyPr/>
          <a:lstStyle>
            <a:lvl1pPr>
              <a:defRPr sz="3000"/>
            </a:lvl1pPr>
            <a:lvl2pPr>
              <a:defRPr sz="2640"/>
            </a:lvl2pPr>
            <a:lvl3pPr>
              <a:defRPr sz="2280"/>
            </a:lvl3pPr>
            <a:lvl4pPr>
              <a:defRPr sz="1920"/>
            </a:lvl4pPr>
            <a:lvl5pPr>
              <a:defRPr sz="1920"/>
            </a:lvl5pPr>
            <a:lvl6pPr>
              <a:defRPr sz="1920"/>
            </a:lvl6pPr>
            <a:lvl7pPr>
              <a:defRPr sz="1920"/>
            </a:lvl7pPr>
            <a:lvl8pPr>
              <a:defRPr sz="1920"/>
            </a:lvl8pPr>
            <a:lvl9pPr>
              <a:defRPr sz="19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1"/>
            <a:ext cx="4011084" cy="4691063"/>
          </a:xfrm>
        </p:spPr>
        <p:txBody>
          <a:bodyPr/>
          <a:lstStyle>
            <a:lvl1pPr marL="0" indent="0">
              <a:buNone/>
              <a:defRPr sz="1320"/>
            </a:lvl1pPr>
            <a:lvl2pPr marL="435510" indent="0">
              <a:buNone/>
              <a:defRPr sz="1200"/>
            </a:lvl2pPr>
            <a:lvl3pPr marL="871021" indent="0">
              <a:buNone/>
              <a:defRPr sz="960"/>
            </a:lvl3pPr>
            <a:lvl4pPr marL="1306531" indent="0">
              <a:buNone/>
              <a:defRPr sz="840"/>
            </a:lvl4pPr>
            <a:lvl5pPr marL="1742041" indent="0">
              <a:buNone/>
              <a:defRPr sz="840"/>
            </a:lvl5pPr>
            <a:lvl6pPr marL="2177552" indent="0">
              <a:buNone/>
              <a:defRPr sz="840"/>
            </a:lvl6pPr>
            <a:lvl7pPr marL="2613062" indent="0">
              <a:buNone/>
              <a:defRPr sz="840"/>
            </a:lvl7pPr>
            <a:lvl8pPr marL="3048574" indent="0">
              <a:buNone/>
              <a:defRPr sz="840"/>
            </a:lvl8pPr>
            <a:lvl9pPr marL="3484084" indent="0">
              <a:buNone/>
              <a:defRPr sz="84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371C27-5D1A-4AB4-B3F3-86F92E529483}" type="datetime1">
              <a:rPr lang="nb-NO" altLang="nb-NO"/>
              <a:pPr>
                <a:defRPr/>
              </a:pPr>
              <a:t>28.03.2023</a:t>
            </a:fld>
            <a:endParaRPr lang="nb-NO" altLang="nb-NO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66B3B4-F556-4108-A2D4-15BB0371DD5E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6225920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9" y="4800602"/>
            <a:ext cx="7315200" cy="566737"/>
          </a:xfrm>
        </p:spPr>
        <p:txBody>
          <a:bodyPr anchor="b"/>
          <a:lstStyle>
            <a:lvl1pPr algn="l">
              <a:defRPr sz="1920" b="1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9" y="612775"/>
            <a:ext cx="7315200" cy="4114800"/>
          </a:xfrm>
        </p:spPr>
        <p:txBody>
          <a:bodyPr/>
          <a:lstStyle>
            <a:lvl1pPr marL="0" indent="0">
              <a:buNone/>
              <a:defRPr sz="3000"/>
            </a:lvl1pPr>
            <a:lvl2pPr marL="435510" indent="0">
              <a:buNone/>
              <a:defRPr sz="2640"/>
            </a:lvl2pPr>
            <a:lvl3pPr marL="871021" indent="0">
              <a:buNone/>
              <a:defRPr sz="2280"/>
            </a:lvl3pPr>
            <a:lvl4pPr marL="1306531" indent="0">
              <a:buNone/>
              <a:defRPr sz="1920"/>
            </a:lvl4pPr>
            <a:lvl5pPr marL="1742041" indent="0">
              <a:buNone/>
              <a:defRPr sz="1920"/>
            </a:lvl5pPr>
            <a:lvl6pPr marL="2177552" indent="0">
              <a:buNone/>
              <a:defRPr sz="1920"/>
            </a:lvl6pPr>
            <a:lvl7pPr marL="2613062" indent="0">
              <a:buNone/>
              <a:defRPr sz="1920"/>
            </a:lvl7pPr>
            <a:lvl8pPr marL="3048574" indent="0">
              <a:buNone/>
              <a:defRPr sz="1920"/>
            </a:lvl8pPr>
            <a:lvl9pPr marL="3484084" indent="0">
              <a:buNone/>
              <a:defRPr sz="1920"/>
            </a:lvl9pPr>
          </a:lstStyle>
          <a:p>
            <a:pPr lvl="0"/>
            <a:r>
              <a:rPr lang="en-US" noProof="0"/>
              <a:t>Click icon to add picture</a:t>
            </a:r>
            <a:endParaRPr lang="nb-NO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9" y="5367339"/>
            <a:ext cx="7315200" cy="804863"/>
          </a:xfrm>
        </p:spPr>
        <p:txBody>
          <a:bodyPr/>
          <a:lstStyle>
            <a:lvl1pPr marL="0" indent="0">
              <a:buNone/>
              <a:defRPr sz="1320"/>
            </a:lvl1pPr>
            <a:lvl2pPr marL="435510" indent="0">
              <a:buNone/>
              <a:defRPr sz="1200"/>
            </a:lvl2pPr>
            <a:lvl3pPr marL="871021" indent="0">
              <a:buNone/>
              <a:defRPr sz="960"/>
            </a:lvl3pPr>
            <a:lvl4pPr marL="1306531" indent="0">
              <a:buNone/>
              <a:defRPr sz="840"/>
            </a:lvl4pPr>
            <a:lvl5pPr marL="1742041" indent="0">
              <a:buNone/>
              <a:defRPr sz="840"/>
            </a:lvl5pPr>
            <a:lvl6pPr marL="2177552" indent="0">
              <a:buNone/>
              <a:defRPr sz="840"/>
            </a:lvl6pPr>
            <a:lvl7pPr marL="2613062" indent="0">
              <a:buNone/>
              <a:defRPr sz="840"/>
            </a:lvl7pPr>
            <a:lvl8pPr marL="3048574" indent="0">
              <a:buNone/>
              <a:defRPr sz="840"/>
            </a:lvl8pPr>
            <a:lvl9pPr marL="3484084" indent="0">
              <a:buNone/>
              <a:defRPr sz="84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891A82-8320-4BDC-8540-FB67DCED79BA}" type="datetime1">
              <a:rPr lang="nb-NO" altLang="nb-NO"/>
              <a:pPr>
                <a:defRPr/>
              </a:pPr>
              <a:t>28.03.2023</a:t>
            </a:fld>
            <a:endParaRPr lang="nb-NO" altLang="nb-NO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5DAC4C-845E-4338-8CA4-94A3E81CFC16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16443528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37517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909458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0170247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58349512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93544417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356474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105304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346760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91353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29" Type="http://schemas.openxmlformats.org/officeDocument/2006/relationships/image" Target="../media/image3.svg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slideLayout" Target="../slideLayouts/slideLayout80.xml"/><Relationship Id="rId3" Type="http://schemas.openxmlformats.org/officeDocument/2006/relationships/slideLayout" Target="../slideLayouts/slideLayout57.xml"/><Relationship Id="rId21" Type="http://schemas.openxmlformats.org/officeDocument/2006/relationships/slideLayout" Target="../slideLayouts/slideLayout75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slideLayout" Target="../slideLayouts/slideLayout74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slideLayout" Target="../slideLayouts/slideLayout81.xml"/><Relationship Id="rId30" Type="http://schemas.openxmlformats.org/officeDocument/2006/relationships/image" Target="../media/image3.sv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image" Target="../media/image22.png"/><Relationship Id="rId5" Type="http://schemas.openxmlformats.org/officeDocument/2006/relationships/slideLayout" Target="../slideLayouts/slideLayout86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3.xml"/><Relationship Id="rId18" Type="http://schemas.openxmlformats.org/officeDocument/2006/relationships/slideLayout" Target="../slideLayouts/slideLayout108.xml"/><Relationship Id="rId26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93.xml"/><Relationship Id="rId21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17" Type="http://schemas.openxmlformats.org/officeDocument/2006/relationships/slideLayout" Target="../slideLayouts/slideLayout107.xml"/><Relationship Id="rId25" Type="http://schemas.openxmlformats.org/officeDocument/2006/relationships/slideLayout" Target="../slideLayouts/slideLayout11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92.xml"/><Relationship Id="rId16" Type="http://schemas.openxmlformats.org/officeDocument/2006/relationships/slideLayout" Target="../slideLayouts/slideLayout106.xml"/><Relationship Id="rId20" Type="http://schemas.openxmlformats.org/officeDocument/2006/relationships/slideLayout" Target="../slideLayouts/slideLayout110.xml"/><Relationship Id="rId29" Type="http://schemas.openxmlformats.org/officeDocument/2006/relationships/tags" Target="../tags/tag5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24" Type="http://schemas.openxmlformats.org/officeDocument/2006/relationships/slideLayout" Target="../slideLayouts/slideLayout11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5.xml"/><Relationship Id="rId23" Type="http://schemas.openxmlformats.org/officeDocument/2006/relationships/slideLayout" Target="../slideLayouts/slideLayout113.xml"/><Relationship Id="rId28" Type="http://schemas.openxmlformats.org/officeDocument/2006/relationships/theme" Target="../theme/theme5.xml"/><Relationship Id="rId10" Type="http://schemas.openxmlformats.org/officeDocument/2006/relationships/slideLayout" Target="../slideLayouts/slideLayout100.xml"/><Relationship Id="rId19" Type="http://schemas.openxmlformats.org/officeDocument/2006/relationships/slideLayout" Target="../slideLayouts/slideLayout10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Relationship Id="rId22" Type="http://schemas.openxmlformats.org/officeDocument/2006/relationships/slideLayout" Target="../slideLayouts/slideLayout112.xml"/><Relationship Id="rId27" Type="http://schemas.openxmlformats.org/officeDocument/2006/relationships/slideLayout" Target="../slideLayouts/slideLayout117.xml"/><Relationship Id="rId30" Type="http://schemas.openxmlformats.org/officeDocument/2006/relationships/oleObject" Target="../embeddings/oleObject4.bin"/><Relationship Id="rId8" Type="http://schemas.openxmlformats.org/officeDocument/2006/relationships/slideLayout" Target="../slideLayouts/slideLayout9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39" imgH="343" progId="TCLayout.ActiveDocument.1">
                  <p:embed/>
                </p:oleObj>
              </mc:Choice>
              <mc:Fallback>
                <p:oleObj name="think-cell Slide" r:id="rId31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85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  <p:sldLayoutId id="2147483797" r:id="rId28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535774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49" r:id="rId19"/>
    <p:sldLayoutId id="2147483750" r:id="rId20"/>
    <p:sldLayoutId id="2147483751" r:id="rId21"/>
    <p:sldLayoutId id="2147483752" r:id="rId22"/>
    <p:sldLayoutId id="2147483753" r:id="rId23"/>
    <p:sldLayoutId id="2147483754" r:id="rId24"/>
    <p:sldLayoutId id="2147483755" r:id="rId25"/>
    <p:sldLayoutId id="2147483756" r:id="rId26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5438" indent="-125438" algn="l" defTabSz="914446" rtl="0" eaLnBrk="1" latinLnBrk="0" hangingPunct="1">
        <a:lnSpc>
          <a:spcPct val="100000"/>
        </a:lnSpc>
        <a:spcBef>
          <a:spcPts val="115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  <p:sldLayoutId id="2147483773" r:id="rId15"/>
    <p:sldLayoutId id="2147483774" r:id="rId16"/>
    <p:sldLayoutId id="2147483775" r:id="rId17"/>
    <p:sldLayoutId id="2147483776" r:id="rId18"/>
    <p:sldLayoutId id="2147483777" r:id="rId19"/>
    <p:sldLayoutId id="2147483778" r:id="rId20"/>
    <p:sldLayoutId id="2147483779" r:id="rId21"/>
    <p:sldLayoutId id="2147483780" r:id="rId22"/>
    <p:sldLayoutId id="2147483781" r:id="rId23"/>
    <p:sldLayoutId id="2147483782" r:id="rId24"/>
    <p:sldLayoutId id="2147483783" r:id="rId25"/>
    <p:sldLayoutId id="2147483784" r:id="rId26"/>
    <p:sldLayoutId id="2147483729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5438" indent="-125438" algn="l" defTabSz="914446" rtl="0" eaLnBrk="1" latinLnBrk="0" hangingPunct="1">
        <a:lnSpc>
          <a:spcPct val="100000"/>
        </a:lnSpc>
        <a:spcBef>
          <a:spcPts val="115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1016001" y="849630"/>
            <a:ext cx="10562167" cy="114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585" tIns="36293" rIns="72585" bIns="3629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nb-NO"/>
              <a:t>Click to edit Master title style</a:t>
            </a:r>
          </a:p>
        </p:txBody>
      </p:sp>
      <p:sp>
        <p:nvSpPr>
          <p:cNvPr id="1027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16000" y="1981200"/>
            <a:ext cx="10566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585" tIns="36293" rIns="72585" bIns="3629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nb-NO"/>
              <a:t>Click to edit Master text styles</a:t>
            </a:r>
          </a:p>
          <a:p>
            <a:pPr lvl="1"/>
            <a:r>
              <a:rPr lang="en-US" altLang="nb-NO"/>
              <a:t>Second level</a:t>
            </a:r>
          </a:p>
          <a:p>
            <a:pPr lvl="2"/>
            <a:r>
              <a:rPr lang="en-US" altLang="nb-NO"/>
              <a:t>Third level</a:t>
            </a:r>
          </a:p>
          <a:p>
            <a:pPr lvl="3"/>
            <a:r>
              <a:rPr lang="en-US" altLang="nb-NO"/>
              <a:t>Fourth level</a:t>
            </a:r>
          </a:p>
          <a:p>
            <a:pPr lvl="4"/>
            <a:r>
              <a:rPr lang="en-US" altLang="nb-NO"/>
              <a:t>Fifth level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16000" y="6400800"/>
            <a:ext cx="2540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585" tIns="36293" rIns="72585" bIns="36293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84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2E606A28-8D8C-4530-A8FA-718CEBE1EB13}" type="datetime1">
              <a:rPr lang="nb-NO" altLang="nb-NO"/>
              <a:pPr>
                <a:defRPr/>
              </a:pPr>
              <a:t>28.03.2023</a:t>
            </a:fld>
            <a:endParaRPr lang="nb-NO" altLang="nb-NO"/>
          </a:p>
        </p:txBody>
      </p:sp>
      <p:sp>
        <p:nvSpPr>
          <p:cNvPr id="1036" name="Rectangle 1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691284" y="6400800"/>
            <a:ext cx="9144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585" tIns="36293" rIns="72585" bIns="36293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84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46C22D38-D347-4E0B-8AE2-2CF1C6227809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  <p:pic>
        <p:nvPicPr>
          <p:cNvPr id="1030" name="Picture 6" descr="UiO_A_png.png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0851" y="161926"/>
            <a:ext cx="2948516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69396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</p:sldLayoutIdLs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435510"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871021"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306531"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1742041"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325756" indent="-325756" algn="l" rtl="0" eaLnBrk="1" fontAlgn="base" hangingPunct="1">
        <a:spcBef>
          <a:spcPct val="20000"/>
        </a:spcBef>
        <a:spcAft>
          <a:spcPct val="0"/>
        </a:spcAft>
        <a:buChar char="•"/>
        <a:defRPr sz="2640">
          <a:solidFill>
            <a:schemeClr val="tx1"/>
          </a:solidFill>
          <a:latin typeface="+mn-lt"/>
          <a:ea typeface="+mn-ea"/>
          <a:cs typeface="+mn-cs"/>
        </a:defRPr>
      </a:lvl1pPr>
      <a:lvl2pPr marL="706756" indent="-270510" algn="l" rtl="0" eaLnBrk="1" fontAlgn="base" hangingPunct="1">
        <a:spcBef>
          <a:spcPct val="20000"/>
        </a:spcBef>
        <a:spcAft>
          <a:spcPct val="0"/>
        </a:spcAft>
        <a:buChar char="–"/>
        <a:defRPr sz="2280">
          <a:solidFill>
            <a:schemeClr val="tx1"/>
          </a:solidFill>
          <a:latin typeface="+mn-lt"/>
          <a:ea typeface="+mn-ea"/>
          <a:cs typeface="+mn-cs"/>
        </a:defRPr>
      </a:lvl2pPr>
      <a:lvl3pPr marL="1087756" indent="-217170" algn="l" rtl="0" eaLnBrk="1" fontAlgn="base" hangingPunct="1">
        <a:spcBef>
          <a:spcPct val="20000"/>
        </a:spcBef>
        <a:spcAft>
          <a:spcPct val="0"/>
        </a:spcAft>
        <a:buChar char="•"/>
        <a:defRPr sz="1920">
          <a:solidFill>
            <a:schemeClr val="tx1"/>
          </a:solidFill>
          <a:latin typeface="+mn-lt"/>
          <a:ea typeface="+mn-ea"/>
          <a:cs typeface="+mn-cs"/>
        </a:defRPr>
      </a:lvl3pPr>
      <a:lvl4pPr marL="1524000" indent="-217170" algn="l" rtl="0" eaLnBrk="1" fontAlgn="base" hangingPunct="1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958340" indent="-217170" algn="l" rtl="0" eaLnBrk="1" fontAlgn="base" hangingPunct="1">
        <a:spcBef>
          <a:spcPct val="20000"/>
        </a:spcBef>
        <a:spcAft>
          <a:spcPct val="0"/>
        </a:spcAft>
        <a:buChar char="»"/>
        <a:defRPr sz="1560">
          <a:solidFill>
            <a:schemeClr val="tx1"/>
          </a:solidFill>
          <a:latin typeface="+mn-lt"/>
          <a:ea typeface="+mn-ea"/>
          <a:cs typeface="+mn-cs"/>
        </a:defRPr>
      </a:lvl5pPr>
      <a:lvl6pPr marL="2395307" indent="-217756" algn="l" rtl="0" eaLnBrk="1" fontAlgn="base" hangingPunct="1">
        <a:spcBef>
          <a:spcPct val="20000"/>
        </a:spcBef>
        <a:spcAft>
          <a:spcPct val="0"/>
        </a:spcAft>
        <a:buChar char="»"/>
        <a:defRPr sz="1560">
          <a:solidFill>
            <a:schemeClr val="tx1"/>
          </a:solidFill>
          <a:latin typeface="+mn-lt"/>
          <a:ea typeface="+mn-ea"/>
          <a:cs typeface="+mn-cs"/>
        </a:defRPr>
      </a:lvl6pPr>
      <a:lvl7pPr marL="2830818" indent="-217756" algn="l" rtl="0" eaLnBrk="1" fontAlgn="base" hangingPunct="1">
        <a:spcBef>
          <a:spcPct val="20000"/>
        </a:spcBef>
        <a:spcAft>
          <a:spcPct val="0"/>
        </a:spcAft>
        <a:buChar char="»"/>
        <a:defRPr sz="1560">
          <a:solidFill>
            <a:schemeClr val="tx1"/>
          </a:solidFill>
          <a:latin typeface="+mn-lt"/>
          <a:ea typeface="+mn-ea"/>
          <a:cs typeface="+mn-cs"/>
        </a:defRPr>
      </a:lvl7pPr>
      <a:lvl8pPr marL="3266328" indent="-217756" algn="l" rtl="0" eaLnBrk="1" fontAlgn="base" hangingPunct="1">
        <a:spcBef>
          <a:spcPct val="20000"/>
        </a:spcBef>
        <a:spcAft>
          <a:spcPct val="0"/>
        </a:spcAft>
        <a:buChar char="»"/>
        <a:defRPr sz="1560">
          <a:solidFill>
            <a:schemeClr val="tx1"/>
          </a:solidFill>
          <a:latin typeface="+mn-lt"/>
          <a:ea typeface="+mn-ea"/>
          <a:cs typeface="+mn-cs"/>
        </a:defRPr>
      </a:lvl8pPr>
      <a:lvl9pPr marL="3701839" indent="-217756" algn="l" rtl="0" eaLnBrk="1" fontAlgn="base" hangingPunct="1">
        <a:spcBef>
          <a:spcPct val="20000"/>
        </a:spcBef>
        <a:spcAft>
          <a:spcPct val="0"/>
        </a:spcAft>
        <a:buChar char="»"/>
        <a:defRPr sz="156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1pPr>
      <a:lvl2pPr marL="435510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2pPr>
      <a:lvl3pPr marL="871021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3pPr>
      <a:lvl4pPr marL="1306531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4pPr>
      <a:lvl5pPr marL="1742041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5pPr>
      <a:lvl6pPr marL="2177552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6pPr>
      <a:lvl7pPr marL="2613062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7pPr>
      <a:lvl8pPr marL="3048574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8pPr>
      <a:lvl9pPr marL="3484084" algn="l" defTabSz="435510" rtl="0" eaLnBrk="1" latinLnBrk="0" hangingPunct="1">
        <a:defRPr sz="168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39" imgH="343" progId="TCLayout.ActiveDocument.1">
                  <p:embed/>
                </p:oleObj>
              </mc:Choice>
              <mc:Fallback>
                <p:oleObj name="think-cell Slide" r:id="rId30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467627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13" r:id="rId15"/>
    <p:sldLayoutId id="2147483814" r:id="rId16"/>
    <p:sldLayoutId id="2147483815" r:id="rId17"/>
    <p:sldLayoutId id="2147483816" r:id="rId18"/>
    <p:sldLayoutId id="2147483817" r:id="rId19"/>
    <p:sldLayoutId id="2147483818" r:id="rId20"/>
    <p:sldLayoutId id="2147483819" r:id="rId21"/>
    <p:sldLayoutId id="2147483820" r:id="rId22"/>
    <p:sldLayoutId id="2147483821" r:id="rId23"/>
    <p:sldLayoutId id="2147483822" r:id="rId24"/>
    <p:sldLayoutId id="2147483823" r:id="rId25"/>
    <p:sldLayoutId id="2147483824" r:id="rId26"/>
    <p:sldLayoutId id="2147483825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prudens.uhad.no/#/site/UiO/views/Budsjettogprognosersperspektiv_16497457678560/BevilgningBOA?:iid=2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hyperlink" Target="https://prudens.uhad.no/#/site/UiO/views/rsverk-Stttetillangtidsprognosen_16654038120300/Fratredelse?:iid=2&amp;:original_view=y" TargetMode="Externa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hyperlink" Target="https://prudens.uhad.no/#/site/UiO/views/LangtidsprognoseBOAVUR/SammenligningversjonerBOAPRO?:iid=1" TargetMode="External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44.svg"/><Relationship Id="rId4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4.xml"/><Relationship Id="rId4" Type="http://schemas.openxmlformats.org/officeDocument/2006/relationships/image" Target="../media/image30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3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uio.no/for-ansatte/arbeidsstotte/virksomhetsstyring/budsjett-prognose/" TargetMode="External"/><Relationship Id="rId1" Type="http://schemas.openxmlformats.org/officeDocument/2006/relationships/slideLayout" Target="../slideLayouts/slideLayout10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ilde 1">
            <a:extLst>
              <a:ext uri="{FF2B5EF4-FFF2-40B4-BE49-F238E27FC236}">
                <a16:creationId xmlns:a16="http://schemas.microsoft.com/office/drawing/2014/main" id="{77D2CD7A-C840-40F7-A393-111D41DF694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F5791184-9217-400C-91DE-8FEBD3D074B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D2679736-DC89-4B1F-8650-FF9FFF390E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err="1">
                <a:cs typeface="Arial"/>
              </a:rPr>
              <a:t>Årskalender</a:t>
            </a:r>
            <a:r>
              <a:rPr lang="nb-NO" dirty="0">
                <a:cs typeface="Arial"/>
              </a:rPr>
              <a:t> 2023 og T1-leveransen</a:t>
            </a:r>
            <a:endParaRPr lang="en-US" dirty="0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4F4BA9C2-BF4A-4349-B82C-9534A1E2878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4AFE9AF5-7631-4B23-B1BD-7C05287A0EB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7422" y="4553459"/>
            <a:ext cx="5716962" cy="757238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nb-NO" dirty="0"/>
              <a:t>Arbeidsstue for </a:t>
            </a:r>
            <a:r>
              <a:rPr lang="nb-NO" dirty="0" err="1"/>
              <a:t>økonomicontrollere</a:t>
            </a:r>
            <a:r>
              <a:rPr lang="nb-NO" dirty="0"/>
              <a:t> og økonomiledere 12.04.23</a:t>
            </a:r>
          </a:p>
        </p:txBody>
      </p:sp>
    </p:spTree>
    <p:extLst>
      <p:ext uri="{BB962C8B-B14F-4D97-AF65-F5344CB8AC3E}">
        <p14:creationId xmlns:p14="http://schemas.microsoft.com/office/powerpoint/2010/main" val="15480078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Sylinder 7">
            <a:extLst>
              <a:ext uri="{FF2B5EF4-FFF2-40B4-BE49-F238E27FC236}">
                <a16:creationId xmlns:a16="http://schemas.microsoft.com/office/drawing/2014/main" id="{EE252B69-2C44-7AC3-5434-9E144797BE6D}"/>
              </a:ext>
            </a:extLst>
          </p:cNvPr>
          <p:cNvSpPr txBox="1"/>
          <p:nvPr/>
        </p:nvSpPr>
        <p:spPr>
          <a:xfrm>
            <a:off x="204538" y="3130212"/>
            <a:ext cx="11661298" cy="362542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noAutofit/>
          </a:bodyPr>
          <a:lstStyle/>
          <a:p>
            <a:pPr algn="ctr"/>
            <a:r>
              <a:rPr lang="nb-NO" sz="2400"/>
              <a:t>Overordnet vurdering av BOA-porteføljen kan f.eks. være knyttet til..</a:t>
            </a:r>
            <a:endParaRPr lang="nb-NO" sz="2400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5281B849-D3AB-F622-1F87-9B795E58B6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ordan håndtere BOA-porteføljen T1 uten ny import?</a:t>
            </a:r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45C11E42-719E-8A79-888E-5936238A3BC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204538" y="1252685"/>
            <a:ext cx="11661298" cy="1708101"/>
          </a:xfrm>
          <a:solidFill>
            <a:srgbClr val="6BBDC3">
              <a:alpha val="20000"/>
            </a:srgb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vert="horz" lIns="72000" tIns="72000" rIns="0" bIns="0" rtlCol="0" anchor="t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/>
              <a:t>Med utgangspunkt i overordnede vurderinger</a:t>
            </a:r>
            <a:r>
              <a:rPr lang="nb-NO" sz="2000" dirty="0"/>
              <a:t>: behov for å gjøre endringer </a:t>
            </a:r>
            <a:r>
              <a:rPr lang="nb-NO" sz="2000"/>
              <a:t>ift. det som allerede ligger i «i arbeid»-versjonen </a:t>
            </a:r>
            <a:r>
              <a:rPr lang="nb-NO" sz="2000" dirty="0"/>
              <a:t>i </a:t>
            </a:r>
            <a:r>
              <a:rPr lang="nb-NO" sz="2000"/>
              <a:t>BOAVUR</a:t>
            </a:r>
            <a:r>
              <a:rPr lang="nb-NO" sz="2000" dirty="0"/>
              <a:t>?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400" dirty="0"/>
              <a:t>Ny informasjon som tilsier at den samlede porteføljen (kontraktsfestede + nye prosjekter) skal bli høyere eller lavere enn porteføljen som ble prognostisert 15.12.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Dersom det skal gjøres endringer i BOAVUR</a:t>
            </a:r>
            <a:r>
              <a:rPr lang="nb-NO" sz="2000"/>
              <a:t>, så kan </a:t>
            </a:r>
            <a:r>
              <a:rPr lang="nb-NO" sz="2000" dirty="0"/>
              <a:t>kategori JUSTERING</a:t>
            </a:r>
            <a:r>
              <a:rPr lang="nb-NO" sz="2000"/>
              <a:t> benyttes</a:t>
            </a:r>
            <a:endParaRPr lang="nb-NO">
              <a:cs typeface="Arial"/>
            </a:endParaRPr>
          </a:p>
        </p:txBody>
      </p:sp>
      <p:sp>
        <p:nvSpPr>
          <p:cNvPr id="6" name="Plassholder for innhold 4">
            <a:extLst>
              <a:ext uri="{FF2B5EF4-FFF2-40B4-BE49-F238E27FC236}">
                <a16:creationId xmlns:a16="http://schemas.microsoft.com/office/drawing/2014/main" id="{6C32D995-1482-4358-B357-36AB6A2EE0BC}"/>
              </a:ext>
            </a:extLst>
          </p:cNvPr>
          <p:cNvSpPr txBox="1">
            <a:spLocks/>
          </p:cNvSpPr>
          <p:nvPr/>
        </p:nvSpPr>
        <p:spPr>
          <a:xfrm>
            <a:off x="6808763" y="3673944"/>
            <a:ext cx="5057073" cy="2924749"/>
          </a:xfrm>
          <a:prstGeom prst="rect">
            <a:avLst/>
          </a:prstGeom>
          <a:solidFill>
            <a:schemeClr val="bg1"/>
          </a:solidFill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vert="horz" lIns="0" tIns="0" rIns="0" bIns="0" rtlCol="0" anchor="t">
            <a:noAutofit/>
          </a:bodyPr>
          <a:lstStyle>
            <a:lvl1pPr marL="125438" indent="-125438" algn="l" defTabSz="914446" rtl="0" eaLnBrk="1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kern="1200" cap="none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34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57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80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503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8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nb-NO" sz="1800" u="sng" dirty="0"/>
              <a:t>LTP</a:t>
            </a:r>
            <a:r>
              <a:rPr lang="nb-NO" sz="1800" dirty="0"/>
              <a:t> (hvis utarbeider)</a:t>
            </a:r>
          </a:p>
          <a:p>
            <a:pPr marL="0" indent="0">
              <a:spcBef>
                <a:spcPts val="0"/>
              </a:spcBef>
            </a:pPr>
            <a:endParaRPr lang="nb-NO" sz="1100" dirty="0">
              <a:cs typeface="Arial"/>
            </a:endParaRPr>
          </a:p>
          <a:p>
            <a:pPr marL="0" indent="0">
              <a:spcBef>
                <a:spcPts val="0"/>
              </a:spcBef>
            </a:pPr>
            <a:r>
              <a:rPr lang="nb-NO" sz="1400" dirty="0"/>
              <a:t>Hva er «normalnivå» på BOA-inntekter og kostnader?</a:t>
            </a:r>
          </a:p>
          <a:p>
            <a:pPr marL="17145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sz="1100" dirty="0"/>
              <a:t>…jfr. tidligere års regnskaper</a:t>
            </a:r>
          </a:p>
          <a:p>
            <a:pPr marL="17145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sz="1100"/>
              <a:t>Har vi informasjon som </a:t>
            </a:r>
            <a:r>
              <a:rPr lang="nb-NO" sz="1100" dirty="0"/>
              <a:t>tilsier </a:t>
            </a:r>
            <a:r>
              <a:rPr lang="nb-NO" sz="1100"/>
              <a:t>at nivået </a:t>
            </a:r>
            <a:r>
              <a:rPr lang="nb-NO" sz="1100" dirty="0"/>
              <a:t>evt. skal bli annerledes framover?</a:t>
            </a:r>
            <a:endParaRPr lang="nb-NO" sz="1100" dirty="0">
              <a:cs typeface="Arial"/>
            </a:endParaRPr>
          </a:p>
          <a:p>
            <a:pPr marL="0" indent="0">
              <a:spcBef>
                <a:spcPts val="500"/>
              </a:spcBef>
            </a:pPr>
            <a:endParaRPr lang="nb-NO" sz="1100" dirty="0"/>
          </a:p>
          <a:p>
            <a:pPr marL="0" indent="0">
              <a:spcBef>
                <a:spcPts val="500"/>
              </a:spcBef>
            </a:pPr>
            <a:r>
              <a:rPr lang="nb-NO" sz="1400" dirty="0"/>
              <a:t>Hva tilsier kontraktsfestet BOA</a:t>
            </a:r>
            <a:r>
              <a:rPr lang="nb-NO" sz="1400"/>
              <a:t> x år fram i tid</a:t>
            </a:r>
            <a:r>
              <a:rPr lang="nb-NO" sz="1400" dirty="0"/>
              <a:t>?</a:t>
            </a:r>
          </a:p>
          <a:p>
            <a:pPr marL="17145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sz="1100" dirty="0"/>
              <a:t>Er </a:t>
            </a:r>
            <a:r>
              <a:rPr lang="nb-NO" sz="1100"/>
              <a:t>nivå på kontraktsfestede prosjekter (</a:t>
            </a:r>
            <a:r>
              <a:rPr lang="nb-NO" sz="1100" dirty="0"/>
              <a:t>BOAPRO</a:t>
            </a:r>
            <a:r>
              <a:rPr lang="nb-NO" sz="1100"/>
              <a:t>)</a:t>
            </a:r>
            <a:r>
              <a:rPr lang="nb-NO" sz="1100" dirty="0"/>
              <a:t> x år fram i tid</a:t>
            </a:r>
            <a:r>
              <a:rPr lang="nb-NO" sz="1100"/>
              <a:t> høyere eller lavere enn det har vært tidligere</a:t>
            </a:r>
            <a:r>
              <a:rPr lang="nb-NO" sz="1100" dirty="0"/>
              <a:t>?</a:t>
            </a:r>
          </a:p>
          <a:p>
            <a:pPr marL="0" indent="0">
              <a:spcBef>
                <a:spcPts val="0"/>
              </a:spcBef>
            </a:pPr>
            <a:endParaRPr lang="nb-NO" sz="1100" dirty="0">
              <a:cs typeface="Arial"/>
            </a:endParaRPr>
          </a:p>
          <a:p>
            <a:pPr marL="0" indent="0">
              <a:spcBef>
                <a:spcPts val="500"/>
              </a:spcBef>
            </a:pPr>
            <a:r>
              <a:rPr lang="nb-NO" sz="1400" dirty="0"/>
              <a:t>Andre forhold som påvirker?</a:t>
            </a:r>
          </a:p>
          <a:p>
            <a:pPr marL="17145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sz="1100" dirty="0"/>
              <a:t>«Markedsutsikter</a:t>
            </a:r>
            <a:r>
              <a:rPr lang="nb-NO" sz="1100"/>
              <a:t>» for eksterne prosjekter, tiltak</a:t>
            </a:r>
            <a:r>
              <a:rPr lang="nb-NO" sz="1100" dirty="0"/>
              <a:t>/</a:t>
            </a:r>
            <a:r>
              <a:rPr lang="nb-NO" sz="1100"/>
              <a:t>ambisjoner</a:t>
            </a:r>
            <a:r>
              <a:rPr lang="nb-NO" sz="1100" dirty="0"/>
              <a:t> ved enheten, søknader i pipeline, annet??</a:t>
            </a:r>
            <a:endParaRPr lang="nb-NO" sz="1100" dirty="0">
              <a:cs typeface="Arial"/>
            </a:endParaRPr>
          </a:p>
          <a:p>
            <a:pPr marL="0" indent="0"/>
            <a:endParaRPr lang="nb-NO" sz="1100" i="1" dirty="0">
              <a:cs typeface="Arial"/>
            </a:endParaRPr>
          </a:p>
        </p:txBody>
      </p:sp>
      <p:sp>
        <p:nvSpPr>
          <p:cNvPr id="7" name="Plassholder for innhold 4">
            <a:extLst>
              <a:ext uri="{FF2B5EF4-FFF2-40B4-BE49-F238E27FC236}">
                <a16:creationId xmlns:a16="http://schemas.microsoft.com/office/drawing/2014/main" id="{67AAF2F0-6F8F-EC1B-40FD-D7A4BC7B8EC8}"/>
              </a:ext>
            </a:extLst>
          </p:cNvPr>
          <p:cNvSpPr txBox="1">
            <a:spLocks/>
          </p:cNvSpPr>
          <p:nvPr/>
        </p:nvSpPr>
        <p:spPr>
          <a:xfrm>
            <a:off x="526367" y="3673943"/>
            <a:ext cx="5424057" cy="2924749"/>
          </a:xfrm>
          <a:prstGeom prst="rect">
            <a:avLst/>
          </a:prstGeom>
          <a:solidFill>
            <a:schemeClr val="bg1"/>
          </a:solidFill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vert="horz" lIns="0" tIns="0" rIns="0" bIns="0" rtlCol="0" anchor="t">
            <a:noAutofit/>
          </a:bodyPr>
          <a:lstStyle>
            <a:lvl1pPr marL="125438" indent="-125438" algn="l" defTabSz="914446" rtl="0" eaLnBrk="1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kern="1200" cap="none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34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57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80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503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8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nb-NO" sz="1800" u="sng" dirty="0"/>
              <a:t>Årsprognose</a:t>
            </a:r>
            <a:endParaRPr lang="nb-NO" sz="1800" u="sng" dirty="0">
              <a:cs typeface="Arial"/>
            </a:endParaRPr>
          </a:p>
          <a:p>
            <a:pPr marL="0" indent="0">
              <a:spcBef>
                <a:spcPts val="0"/>
              </a:spcBef>
            </a:pPr>
            <a:endParaRPr lang="nb-NO" sz="1100" dirty="0"/>
          </a:p>
          <a:p>
            <a:pPr marL="0" indent="0">
              <a:spcBef>
                <a:spcPts val="0"/>
              </a:spcBef>
            </a:pPr>
            <a:r>
              <a:rPr lang="nb-NO" sz="1400" dirty="0"/>
              <a:t>Hva er p.t. kontraktsfestet BOA (BOAPRO) for inneværende år?</a:t>
            </a:r>
          </a:p>
          <a:p>
            <a:pPr marL="17145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sz="1100" dirty="0"/>
              <a:t>Hvor stor er kontraktsfestet BOA pr. T1 i år vs. T1 tidligere år? Indikerer det økt eller redusert BOA-aktivitet på årsbasis?</a:t>
            </a:r>
            <a:endParaRPr lang="nb-NO" sz="1100"/>
          </a:p>
          <a:p>
            <a:pPr marL="0" indent="0">
              <a:spcBef>
                <a:spcPts val="0"/>
              </a:spcBef>
            </a:pPr>
            <a:endParaRPr lang="nb-NO" sz="1100"/>
          </a:p>
          <a:p>
            <a:pPr marL="0" indent="0">
              <a:spcBef>
                <a:spcPts val="500"/>
              </a:spcBef>
            </a:pPr>
            <a:r>
              <a:rPr lang="nb-NO" sz="1400" dirty="0"/>
              <a:t>Hva tilsier regnskapet pr. T1 i år vs. T1 tidligere år?</a:t>
            </a:r>
          </a:p>
          <a:p>
            <a:pPr marL="17145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sz="1100" dirty="0"/>
              <a:t>Tilsier det økt eller redusert BOA-aktivitet på årsbasis?</a:t>
            </a:r>
          </a:p>
          <a:p>
            <a:pPr marL="0" indent="0">
              <a:spcBef>
                <a:spcPts val="0"/>
              </a:spcBef>
            </a:pPr>
            <a:endParaRPr lang="nb-NO" sz="1100" dirty="0"/>
          </a:p>
          <a:p>
            <a:pPr marL="0" indent="0">
              <a:spcBef>
                <a:spcPts val="500"/>
              </a:spcBef>
            </a:pPr>
            <a:r>
              <a:rPr lang="nb-NO" sz="1400" dirty="0"/>
              <a:t>Hvilke søknader venter vi på svar på?</a:t>
            </a:r>
          </a:p>
          <a:p>
            <a:pPr marL="17145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sz="1100" dirty="0"/>
              <a:t>Antakelser om tilslag? </a:t>
            </a:r>
            <a:r>
              <a:rPr lang="nb-NO" sz="1100"/>
              <a:t>Vil det </a:t>
            </a:r>
            <a:r>
              <a:rPr lang="nb-NO" sz="1100" dirty="0"/>
              <a:t>evt. </a:t>
            </a:r>
            <a:r>
              <a:rPr lang="nb-NO" sz="1100"/>
              <a:t>ha vesentlig påvirkning på</a:t>
            </a:r>
            <a:r>
              <a:rPr lang="nb-NO" sz="1100" dirty="0"/>
              <a:t> inneværende år? </a:t>
            </a:r>
          </a:p>
          <a:p>
            <a:pPr marL="0" indent="0">
              <a:spcBef>
                <a:spcPts val="0"/>
              </a:spcBef>
            </a:pPr>
            <a:endParaRPr lang="nb-NO" sz="1100" dirty="0"/>
          </a:p>
          <a:p>
            <a:pPr marL="0" indent="0">
              <a:spcBef>
                <a:spcPts val="500"/>
              </a:spcBef>
            </a:pPr>
            <a:r>
              <a:rPr lang="nb-NO" sz="1400" dirty="0">
                <a:cs typeface="Arial"/>
              </a:rPr>
              <a:t>Hva er status for prosjekter som skal avsluttes?</a:t>
            </a:r>
          </a:p>
          <a:p>
            <a:pPr marL="17145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sz="1100" dirty="0">
                <a:cs typeface="Arial"/>
              </a:rPr>
              <a:t>Vil de ende med vesentlig mer- eller mindreforbruk?</a:t>
            </a:r>
          </a:p>
        </p:txBody>
      </p:sp>
    </p:spTree>
    <p:extLst>
      <p:ext uri="{BB962C8B-B14F-4D97-AF65-F5344CB8AC3E}">
        <p14:creationId xmlns:p14="http://schemas.microsoft.com/office/powerpoint/2010/main" val="15399708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6BBDC3"/>
            </a:gs>
            <a:gs pos="50000">
              <a:schemeClr val="bg2">
                <a:tint val="98000"/>
                <a:satMod val="130000"/>
                <a:shade val="90000"/>
                <a:lumMod val="103000"/>
              </a:schemeClr>
            </a:gs>
            <a:gs pos="100000">
              <a:schemeClr val="bg2">
                <a:shade val="63000"/>
                <a:satMod val="12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33F7B2F4-AA1B-C041-E206-DAD8B655B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6" name="Tittel 5">
            <a:extLst>
              <a:ext uri="{FF2B5EF4-FFF2-40B4-BE49-F238E27FC236}">
                <a16:creationId xmlns:a16="http://schemas.microsoft.com/office/drawing/2014/main" id="{ADA0FC8A-1DD7-04A9-845B-1832C2E4CFC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b="1"/>
              <a:t>Rapporter til bruk i T1-arbeidet</a:t>
            </a:r>
          </a:p>
        </p:txBody>
      </p:sp>
    </p:spTree>
    <p:extLst>
      <p:ext uri="{BB962C8B-B14F-4D97-AF65-F5344CB8AC3E}">
        <p14:creationId xmlns:p14="http://schemas.microsoft.com/office/powerpoint/2010/main" val="29056381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CC33D4C-A20E-152B-7ABF-E403B2A477C3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125095" indent="-125095"/>
            <a:r>
              <a:rPr lang="en-US" b="1" dirty="0" err="1">
                <a:cs typeface="Arial"/>
              </a:rPr>
              <a:t>Totaloversikt</a:t>
            </a:r>
            <a:r>
              <a:rPr lang="en-US" b="1" dirty="0">
                <a:cs typeface="Arial"/>
              </a:rPr>
              <a:t>: </a:t>
            </a:r>
          </a:p>
          <a:p>
            <a:pPr marL="0" indent="0"/>
            <a:r>
              <a:rPr lang="en-US">
                <a:ea typeface="+mn-lt"/>
                <a:cs typeface="+mn-lt"/>
              </a:rPr>
              <a:t>Tableau: </a:t>
            </a:r>
          </a:p>
          <a:p>
            <a:pPr marL="342900" indent="-342900">
              <a:buAutoNum type="arabicPeriod"/>
            </a:pPr>
            <a:r>
              <a:rPr lang="en-US">
                <a:ea typeface="+mn-lt"/>
                <a:cs typeface="+mn-lt"/>
                <a:hlinkClick r:id="rId3"/>
              </a:rPr>
              <a:t>Budsjett og prognose årsperspektiv</a:t>
            </a:r>
            <a:r>
              <a:rPr lang="en-US">
                <a:ea typeface="+mn-lt"/>
                <a:cs typeface="+mn-lt"/>
              </a:rPr>
              <a:t>/ </a:t>
            </a:r>
            <a:r>
              <a:rPr lang="en-US" err="1">
                <a:ea typeface="+mn-lt"/>
                <a:cs typeface="+mn-lt"/>
              </a:rPr>
              <a:t>Langtidsprognose</a:t>
            </a:r>
            <a:r>
              <a:rPr lang="en-US">
                <a:ea typeface="+mn-lt"/>
                <a:cs typeface="+mn-lt"/>
              </a:rPr>
              <a:t> (I </a:t>
            </a:r>
            <a:r>
              <a:rPr lang="en-US" err="1">
                <a:ea typeface="+mn-lt"/>
                <a:cs typeface="+mn-lt"/>
              </a:rPr>
              <a:t>mappen</a:t>
            </a:r>
            <a:r>
              <a:rPr lang="en-US">
                <a:ea typeface="+mn-lt"/>
                <a:cs typeface="+mn-lt"/>
              </a:rPr>
              <a:t> "</a:t>
            </a:r>
            <a:r>
              <a:rPr lang="en-US" err="1">
                <a:ea typeface="+mn-lt"/>
                <a:cs typeface="+mn-lt"/>
              </a:rPr>
              <a:t>UiO</a:t>
            </a:r>
            <a:r>
              <a:rPr lang="en-US">
                <a:ea typeface="+mn-lt"/>
                <a:cs typeface="+mn-lt"/>
              </a:rPr>
              <a:t> </a:t>
            </a:r>
            <a:r>
              <a:rPr lang="en-US" err="1">
                <a:ea typeface="+mn-lt"/>
                <a:cs typeface="+mn-lt"/>
              </a:rPr>
              <a:t>økonomioppfølging</a:t>
            </a:r>
            <a:r>
              <a:rPr lang="en-US">
                <a:ea typeface="+mn-lt"/>
                <a:cs typeface="+mn-lt"/>
              </a:rPr>
              <a:t>")</a:t>
            </a:r>
          </a:p>
          <a:p>
            <a:pPr marL="1017905" lvl="1" indent="-457200">
              <a:buFont typeface="Wingdings" panose="05000000000000000000" pitchFamily="2" charset="2"/>
              <a:buAutoNum type="alphaLcParenR"/>
            </a:pPr>
            <a:r>
              <a:rPr lang="en-US" sz="1400" err="1">
                <a:ea typeface="+mn-lt"/>
                <a:cs typeface="+mn-lt"/>
              </a:rPr>
              <a:t>Benyttes</a:t>
            </a:r>
            <a:r>
              <a:rPr lang="en-US" sz="1400">
                <a:ea typeface="+mn-lt"/>
                <a:cs typeface="+mn-lt"/>
              </a:rPr>
              <a:t> </a:t>
            </a:r>
            <a:r>
              <a:rPr lang="en-US" sz="1400" err="1">
                <a:ea typeface="+mn-lt"/>
                <a:cs typeface="+mn-lt"/>
              </a:rPr>
              <a:t>som</a:t>
            </a:r>
            <a:r>
              <a:rPr lang="en-US" sz="1400">
                <a:ea typeface="+mn-lt"/>
                <a:cs typeface="+mn-lt"/>
              </a:rPr>
              <a:t> </a:t>
            </a:r>
            <a:r>
              <a:rPr lang="en-US" sz="1400" err="1">
                <a:ea typeface="+mn-lt"/>
                <a:cs typeface="+mn-lt"/>
              </a:rPr>
              <a:t>grunnlag</a:t>
            </a:r>
            <a:r>
              <a:rPr lang="en-US" sz="1400">
                <a:ea typeface="+mn-lt"/>
                <a:cs typeface="+mn-lt"/>
              </a:rPr>
              <a:t> for </a:t>
            </a:r>
            <a:r>
              <a:rPr lang="en-US" sz="1400" err="1">
                <a:ea typeface="+mn-lt"/>
                <a:cs typeface="+mn-lt"/>
              </a:rPr>
              <a:t>virksomhetsrapporten</a:t>
            </a:r>
            <a:r>
              <a:rPr lang="en-US" sz="1400">
                <a:ea typeface="+mn-lt"/>
                <a:cs typeface="+mn-lt"/>
              </a:rPr>
              <a:t>. Egen mail </a:t>
            </a:r>
            <a:r>
              <a:rPr lang="en-US" sz="1400" err="1">
                <a:ea typeface="+mn-lt"/>
                <a:cs typeface="+mn-lt"/>
              </a:rPr>
              <a:t>vil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bli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sendt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ut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innen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kort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tid</a:t>
            </a:r>
            <a:r>
              <a:rPr lang="en-US" sz="1400">
                <a:ea typeface="+mn-lt"/>
                <a:cs typeface="+mn-lt"/>
              </a:rPr>
              <a:t> med </a:t>
            </a:r>
            <a:r>
              <a:rPr lang="en-US" sz="1400" err="1">
                <a:ea typeface="+mn-lt"/>
                <a:cs typeface="+mn-lt"/>
              </a:rPr>
              <a:t>mer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detaljer</a:t>
            </a:r>
            <a:r>
              <a:rPr lang="en-US" sz="1400">
                <a:ea typeface="+mn-lt"/>
                <a:cs typeface="+mn-lt"/>
              </a:rPr>
              <a:t> om </a:t>
            </a:r>
            <a:r>
              <a:rPr lang="en-US" sz="1400" err="1">
                <a:ea typeface="+mn-lt"/>
                <a:cs typeface="+mn-lt"/>
              </a:rPr>
              <a:t>innleveringen</a:t>
            </a:r>
            <a:r>
              <a:rPr lang="en-US" sz="1400">
                <a:ea typeface="+mn-lt"/>
                <a:cs typeface="+mn-lt"/>
              </a:rPr>
              <a:t>.  </a:t>
            </a:r>
          </a:p>
          <a:p>
            <a:pPr marL="1017905" lvl="1" indent="-457200">
              <a:buAutoNum type="alphaLcParenR"/>
            </a:pPr>
            <a:r>
              <a:rPr lang="en-US" sz="1400" err="1">
                <a:ea typeface="+mn-lt"/>
                <a:cs typeface="+mn-lt"/>
              </a:rPr>
              <a:t>Velg</a:t>
            </a:r>
            <a:r>
              <a:rPr lang="en-US" sz="1400">
                <a:ea typeface="+mn-lt"/>
                <a:cs typeface="+mn-lt"/>
              </a:rPr>
              <a:t> </a:t>
            </a:r>
            <a:r>
              <a:rPr lang="en-US" sz="1400" err="1">
                <a:ea typeface="+mn-lt"/>
                <a:cs typeface="+mn-lt"/>
              </a:rPr>
              <a:t>år</a:t>
            </a:r>
            <a:r>
              <a:rPr lang="en-US" sz="1400">
                <a:ea typeface="+mn-lt"/>
                <a:cs typeface="+mn-lt"/>
              </a:rPr>
              <a:t> 2023 </a:t>
            </a:r>
            <a:r>
              <a:rPr lang="en-US" sz="1400" err="1">
                <a:ea typeface="+mn-lt"/>
                <a:cs typeface="+mn-lt"/>
              </a:rPr>
              <a:t>og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prognoseversjon</a:t>
            </a:r>
            <a:r>
              <a:rPr lang="en-US" sz="1400">
                <a:ea typeface="+mn-lt"/>
                <a:cs typeface="+mn-lt"/>
              </a:rPr>
              <a:t>: "I </a:t>
            </a:r>
            <a:r>
              <a:rPr lang="en-US" sz="1400" err="1">
                <a:ea typeface="+mn-lt"/>
                <a:cs typeface="+mn-lt"/>
              </a:rPr>
              <a:t>arbeid</a:t>
            </a:r>
            <a:r>
              <a:rPr lang="en-US" sz="1400">
                <a:ea typeface="+mn-lt"/>
                <a:cs typeface="+mn-lt"/>
              </a:rPr>
              <a:t>" for </a:t>
            </a:r>
            <a:r>
              <a:rPr lang="en-US" sz="1400" err="1">
                <a:ea typeface="+mn-lt"/>
                <a:cs typeface="+mn-lt"/>
              </a:rPr>
              <a:t>siste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gjeldende</a:t>
            </a:r>
            <a:r>
              <a:rPr lang="en-US" sz="1400">
                <a:ea typeface="+mn-lt"/>
                <a:cs typeface="+mn-lt"/>
              </a:rPr>
              <a:t> data</a:t>
            </a:r>
            <a:endParaRPr lang="en-US">
              <a:cs typeface="Arial"/>
            </a:endParaRPr>
          </a:p>
          <a:p>
            <a:pPr marL="0" indent="0"/>
            <a:endParaRPr lang="en-US">
              <a:cs typeface="Arial"/>
            </a:endParaRPr>
          </a:p>
          <a:p>
            <a:pPr marL="0" indent="0"/>
            <a:r>
              <a:rPr lang="en-US" dirty="0">
                <a:cs typeface="Arial"/>
              </a:rPr>
              <a:t>UNIT4: </a:t>
            </a:r>
            <a:endParaRPr lang="en-US"/>
          </a:p>
          <a:p>
            <a:pPr marL="342900" indent="-342900">
              <a:buAutoNum type="arabicPeriod"/>
            </a:pPr>
            <a:r>
              <a:rPr lang="en-US" dirty="0" err="1">
                <a:cs typeface="Arial"/>
              </a:rPr>
              <a:t>Tableauoppsett</a:t>
            </a:r>
            <a:r>
              <a:rPr lang="en-US" dirty="0">
                <a:cs typeface="Arial"/>
              </a:rPr>
              <a:t> BEV/BOA (</a:t>
            </a:r>
            <a:r>
              <a:rPr lang="en-US" err="1">
                <a:cs typeface="Arial"/>
              </a:rPr>
              <a:t>Velg</a:t>
            </a:r>
            <a:r>
              <a:rPr lang="en-US">
                <a:cs typeface="Arial"/>
              </a:rPr>
              <a:t> </a:t>
            </a:r>
            <a:r>
              <a:rPr lang="en-US" err="1">
                <a:cs typeface="Arial"/>
              </a:rPr>
              <a:t>Planlegger</a:t>
            </a:r>
            <a:r>
              <a:rPr lang="en-US" dirty="0">
                <a:cs typeface="Arial"/>
              </a:rPr>
              <a:t>, Delt, Information browser)</a:t>
            </a:r>
          </a:p>
          <a:p>
            <a:pPr marL="903605" lvl="1" indent="-457200">
              <a:buAutoNum type="alphaLcParenR"/>
            </a:pPr>
            <a:r>
              <a:rPr lang="en-US" sz="1400">
                <a:cs typeface="Arial"/>
              </a:rPr>
              <a:t>Alle </a:t>
            </a:r>
            <a:r>
              <a:rPr lang="en-US" sz="1400" err="1">
                <a:cs typeface="Arial"/>
              </a:rPr>
              <a:t>planleggertransaksjoner</a:t>
            </a:r>
            <a:r>
              <a:rPr lang="en-US" sz="1400">
                <a:cs typeface="Arial"/>
              </a:rPr>
              <a:t> med </a:t>
            </a:r>
            <a:r>
              <a:rPr lang="en-US" sz="1400" err="1">
                <a:cs typeface="Arial"/>
              </a:rPr>
              <a:t>smartgruppering</a:t>
            </a:r>
            <a:endParaRPr lang="en-US" sz="1400">
              <a:cs typeface="Arial"/>
            </a:endParaRPr>
          </a:p>
          <a:p>
            <a:pPr marL="903605" lvl="1" indent="-457200">
              <a:buAutoNum type="alphaLcParenR"/>
            </a:pPr>
            <a:r>
              <a:rPr lang="en-US" sz="1400" err="1">
                <a:ea typeface="+mn-lt"/>
                <a:cs typeface="+mn-lt"/>
              </a:rPr>
              <a:t>Trykk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på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Analyser</a:t>
            </a:r>
            <a:r>
              <a:rPr lang="en-US" sz="1400">
                <a:ea typeface="+mn-lt"/>
                <a:cs typeface="+mn-lt"/>
              </a:rPr>
              <a:t>, </a:t>
            </a:r>
            <a:r>
              <a:rPr lang="en-US" sz="1400" err="1">
                <a:ea typeface="+mn-lt"/>
                <a:cs typeface="+mn-lt"/>
              </a:rPr>
              <a:t>oppsett</a:t>
            </a:r>
            <a:r>
              <a:rPr lang="en-US" sz="1400">
                <a:ea typeface="+mn-lt"/>
                <a:cs typeface="+mn-lt"/>
              </a:rPr>
              <a:t> </a:t>
            </a:r>
            <a:r>
              <a:rPr lang="en-US" sz="1400" err="1">
                <a:ea typeface="+mn-lt"/>
                <a:cs typeface="+mn-lt"/>
              </a:rPr>
              <a:t>Tableauoppsett</a:t>
            </a:r>
            <a:endParaRPr lang="en-US" sz="1400">
              <a:ea typeface="+mn-lt"/>
              <a:cs typeface="+mn-lt"/>
            </a:endParaRPr>
          </a:p>
          <a:p>
            <a:pPr marL="446405" lvl="1" indent="0">
              <a:buNone/>
            </a:pPr>
            <a:endParaRPr lang="en-US" sz="1400">
              <a:cs typeface="Arial"/>
            </a:endParaRPr>
          </a:p>
          <a:p>
            <a:pPr marL="342900" indent="-342900">
              <a:buAutoNum type="arabicPeriod"/>
            </a:pPr>
            <a:r>
              <a:rPr lang="en-US" dirty="0" err="1">
                <a:cs typeface="Arial"/>
              </a:rPr>
              <a:t>Årlig</a:t>
            </a:r>
            <a:r>
              <a:rPr lang="en-US" dirty="0">
                <a:cs typeface="Arial"/>
              </a:rPr>
              <a:t>/</a:t>
            </a:r>
            <a:r>
              <a:rPr lang="en-US" dirty="0" err="1">
                <a:cs typeface="Arial"/>
              </a:rPr>
              <a:t>Flerårig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bevilgningsbudsjett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til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analyse_UL</a:t>
            </a:r>
            <a:r>
              <a:rPr lang="en-US" dirty="0">
                <a:cs typeface="Arial"/>
              </a:rPr>
              <a:t> (</a:t>
            </a:r>
            <a:r>
              <a:rPr lang="en-US">
                <a:cs typeface="Arial"/>
              </a:rPr>
              <a:t>Velg Planlegger</a:t>
            </a:r>
            <a:r>
              <a:rPr lang="en-US" dirty="0">
                <a:cs typeface="Arial"/>
              </a:rPr>
              <a:t>, Delt, </a:t>
            </a:r>
            <a:r>
              <a:rPr lang="en-US" dirty="0" err="1">
                <a:cs typeface="Arial"/>
              </a:rPr>
              <a:t>Bevilgningsbudsjett</a:t>
            </a:r>
            <a:r>
              <a:rPr lang="en-US" dirty="0">
                <a:cs typeface="Arial"/>
              </a:rPr>
              <a:t>)</a:t>
            </a:r>
          </a:p>
          <a:p>
            <a:pPr marL="903605" lvl="1" indent="-457200">
              <a:buAutoNum type="alphaLcParenR"/>
            </a:pPr>
            <a:r>
              <a:rPr lang="en-US" sz="1400" dirty="0">
                <a:cs typeface="Arial"/>
              </a:rPr>
              <a:t>Alle </a:t>
            </a:r>
            <a:r>
              <a:rPr lang="en-US" sz="1400" dirty="0" err="1">
                <a:cs typeface="Arial"/>
              </a:rPr>
              <a:t>planleggertransaksjoner</a:t>
            </a:r>
            <a:r>
              <a:rPr lang="en-US" sz="1400" dirty="0">
                <a:cs typeface="Arial"/>
              </a:rPr>
              <a:t> (</a:t>
            </a:r>
            <a:r>
              <a:rPr lang="en-US" sz="1400" dirty="0" err="1">
                <a:cs typeface="Arial"/>
              </a:rPr>
              <a:t>litt</a:t>
            </a:r>
            <a:r>
              <a:rPr lang="en-US" sz="1400" dirty="0">
                <a:cs typeface="Arial"/>
              </a:rPr>
              <a:t> </a:t>
            </a:r>
            <a:r>
              <a:rPr lang="en-US" sz="1400" dirty="0" err="1">
                <a:cs typeface="Arial"/>
              </a:rPr>
              <a:t>mer</a:t>
            </a:r>
            <a:r>
              <a:rPr lang="en-US" sz="1400" dirty="0">
                <a:cs typeface="Arial"/>
              </a:rPr>
              <a:t> info </a:t>
            </a:r>
            <a:r>
              <a:rPr lang="en-US" sz="1400" dirty="0" err="1">
                <a:cs typeface="Arial"/>
              </a:rPr>
              <a:t>enn</a:t>
            </a:r>
            <a:r>
              <a:rPr lang="en-US" sz="1400" dirty="0">
                <a:cs typeface="Arial"/>
              </a:rPr>
              <a:t> </a:t>
            </a:r>
            <a:r>
              <a:rPr lang="en-US" sz="1400" dirty="0" err="1">
                <a:cs typeface="Arial"/>
              </a:rPr>
              <a:t>Tableauoppsett</a:t>
            </a:r>
            <a:r>
              <a:rPr lang="en-US" sz="1400" dirty="0">
                <a:cs typeface="Arial"/>
              </a:rPr>
              <a:t> BEV/BOA </a:t>
            </a:r>
            <a:r>
              <a:rPr lang="en-US" sz="1400" dirty="0" err="1">
                <a:cs typeface="Arial"/>
              </a:rPr>
              <a:t>bl.a</a:t>
            </a:r>
            <a:r>
              <a:rPr lang="en-US" sz="1400" dirty="0">
                <a:cs typeface="Arial"/>
              </a:rPr>
              <a:t> </a:t>
            </a:r>
            <a:r>
              <a:rPr lang="en-US" sz="1400" dirty="0" err="1">
                <a:cs typeface="Arial"/>
              </a:rPr>
              <a:t>ansatt</a:t>
            </a:r>
            <a:r>
              <a:rPr lang="en-US" sz="1400" dirty="0">
                <a:cs typeface="Arial"/>
              </a:rPr>
              <a:t> </a:t>
            </a:r>
            <a:r>
              <a:rPr lang="en-US" sz="1400" dirty="0" err="1">
                <a:cs typeface="Arial"/>
              </a:rPr>
              <a:t>og</a:t>
            </a:r>
            <a:r>
              <a:rPr lang="en-US" sz="1400" dirty="0">
                <a:cs typeface="Arial"/>
              </a:rPr>
              <a:t> </a:t>
            </a:r>
            <a:r>
              <a:rPr lang="en-US" sz="1400" dirty="0" err="1">
                <a:cs typeface="Arial"/>
              </a:rPr>
              <a:t>arbeidspakke</a:t>
            </a:r>
            <a:r>
              <a:rPr lang="en-US" sz="1400" dirty="0">
                <a:cs typeface="Arial"/>
              </a:rPr>
              <a:t>). </a:t>
            </a:r>
          </a:p>
          <a:p>
            <a:pPr marL="0" indent="0"/>
            <a:endParaRPr lang="en-US" dirty="0">
              <a:cs typeface="Arial"/>
            </a:endParaRPr>
          </a:p>
          <a:p>
            <a:pPr marL="0" indent="0"/>
            <a:endParaRPr lang="en-US" sz="1400">
              <a:cs typeface="Arial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DD5A33-A457-C3DF-DD02-C901B55C5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ECCFE3-BBC7-D463-5E3A-4865313BB1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4D1437C-5665-BFBB-B61B-07CB1C7F9E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>
                <a:cs typeface="Arial"/>
              </a:rPr>
              <a:t>Relevante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rapporter</a:t>
            </a:r>
            <a:r>
              <a:rPr lang="en-US">
                <a:cs typeface="Arial"/>
              </a:rPr>
              <a:t> </a:t>
            </a:r>
          </a:p>
        </p:txBody>
      </p:sp>
      <p:pic>
        <p:nvPicPr>
          <p:cNvPr id="6" name="Picture 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7C0EA338-5487-2A84-3B25-34167CC470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60630" y="2669124"/>
            <a:ext cx="2362200" cy="18258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1CDD0DF-F5A2-EB29-2BDD-4C49644D80D8}"/>
              </a:ext>
            </a:extLst>
          </p:cNvPr>
          <p:cNvSpPr txBox="1"/>
          <p:nvPr/>
        </p:nvSpPr>
        <p:spPr>
          <a:xfrm>
            <a:off x="9468415" y="905346"/>
            <a:ext cx="2097385" cy="5078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cs typeface="Arial"/>
              </a:rPr>
              <a:t>UNIT4</a:t>
            </a:r>
            <a:r>
              <a:rPr lang="en-US">
                <a:cs typeface="Arial"/>
              </a:rPr>
              <a:t>- </a:t>
            </a:r>
            <a:r>
              <a:rPr lang="en-US" err="1">
                <a:cs typeface="Arial"/>
              </a:rPr>
              <a:t>oppdateres</a:t>
            </a:r>
            <a:r>
              <a:rPr lang="en-US">
                <a:cs typeface="Arial"/>
              </a:rPr>
              <a:t> med </a:t>
            </a:r>
            <a:r>
              <a:rPr lang="en-US" err="1">
                <a:cs typeface="Arial"/>
              </a:rPr>
              <a:t>en</a:t>
            </a:r>
            <a:r>
              <a:rPr lang="en-US">
                <a:cs typeface="Arial"/>
              </a:rPr>
              <a:t> gang</a:t>
            </a:r>
          </a:p>
          <a:p>
            <a:endParaRPr lang="en-US">
              <a:cs typeface="Arial"/>
            </a:endParaRPr>
          </a:p>
          <a:p>
            <a:r>
              <a:rPr lang="en-US" b="1">
                <a:cs typeface="Arial"/>
              </a:rPr>
              <a:t>Tableau</a:t>
            </a:r>
            <a:r>
              <a:rPr lang="en-US">
                <a:cs typeface="Arial"/>
              </a:rPr>
              <a:t>- </a:t>
            </a:r>
            <a:r>
              <a:rPr lang="en-US" err="1">
                <a:cs typeface="Arial"/>
              </a:rPr>
              <a:t>oppdateres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hver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natt</a:t>
            </a: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595931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1BB1884-A2E3-AF50-3768-5B677C0D5A7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678024" cy="4817312"/>
          </a:xfrm>
        </p:spPr>
        <p:txBody>
          <a:bodyPr vert="horz" lIns="0" tIns="0" rIns="0" bIns="0" rtlCol="0" anchor="t">
            <a:noAutofit/>
          </a:bodyPr>
          <a:lstStyle/>
          <a:p>
            <a:pPr marL="125095" indent="-125095"/>
            <a:r>
              <a:rPr lang="en-US" b="1" err="1">
                <a:cs typeface="Arial"/>
              </a:rPr>
              <a:t>Lønn</a:t>
            </a:r>
            <a:r>
              <a:rPr lang="en-US" b="1">
                <a:cs typeface="Arial"/>
              </a:rPr>
              <a:t>:</a:t>
            </a:r>
            <a:r>
              <a:rPr lang="en-US">
                <a:cs typeface="Arial"/>
              </a:rPr>
              <a:t> </a:t>
            </a:r>
          </a:p>
          <a:p>
            <a:pPr marL="0" indent="0"/>
            <a:r>
              <a:rPr lang="en-US">
                <a:ea typeface="+mn-lt"/>
                <a:cs typeface="+mn-lt"/>
              </a:rPr>
              <a:t>Tableau: </a:t>
            </a:r>
          </a:p>
          <a:p>
            <a:pPr marL="342900" indent="-342900">
              <a:buAutoNum type="arabicPeriod"/>
            </a:pPr>
            <a:r>
              <a:rPr lang="en-US">
                <a:ea typeface="+mn-lt"/>
                <a:cs typeface="+mn-lt"/>
                <a:hlinkClick r:id="rId2"/>
              </a:rPr>
              <a:t>Årsverk- støtte til langtidsprognosen</a:t>
            </a:r>
            <a:r>
              <a:rPr lang="en-US">
                <a:ea typeface="+mn-lt"/>
                <a:cs typeface="+mn-lt"/>
              </a:rPr>
              <a:t>. (I </a:t>
            </a:r>
            <a:r>
              <a:rPr lang="en-US" err="1">
                <a:ea typeface="+mn-lt"/>
                <a:cs typeface="+mn-lt"/>
              </a:rPr>
              <a:t>mappen</a:t>
            </a:r>
            <a:r>
              <a:rPr lang="en-US">
                <a:ea typeface="+mn-lt"/>
                <a:cs typeface="+mn-lt"/>
              </a:rPr>
              <a:t> "</a:t>
            </a:r>
            <a:r>
              <a:rPr lang="en-US" err="1">
                <a:ea typeface="+mn-lt"/>
                <a:cs typeface="+mn-lt"/>
              </a:rPr>
              <a:t>UiO</a:t>
            </a:r>
            <a:r>
              <a:rPr lang="en-US">
                <a:ea typeface="+mn-lt"/>
                <a:cs typeface="+mn-lt"/>
              </a:rPr>
              <a:t> </a:t>
            </a:r>
            <a:r>
              <a:rPr lang="en-US" err="1">
                <a:ea typeface="+mn-lt"/>
                <a:cs typeface="+mn-lt"/>
              </a:rPr>
              <a:t>Årsverk</a:t>
            </a:r>
            <a:r>
              <a:rPr lang="en-US">
                <a:ea typeface="+mn-lt"/>
                <a:cs typeface="+mn-lt"/>
              </a:rPr>
              <a:t>")</a:t>
            </a:r>
          </a:p>
          <a:p>
            <a:pPr marL="1132205" lvl="1" indent="-457200">
              <a:buAutoNum type="alphaLcParenR"/>
            </a:pPr>
            <a:r>
              <a:rPr lang="en-US" sz="1400" err="1">
                <a:ea typeface="+mn-lt"/>
                <a:cs typeface="+mn-lt"/>
              </a:rPr>
              <a:t>Får</a:t>
            </a:r>
            <a:r>
              <a:rPr lang="en-US" sz="1400">
                <a:ea typeface="+mn-lt"/>
                <a:cs typeface="+mn-lt"/>
              </a:rPr>
              <a:t> </a:t>
            </a:r>
            <a:r>
              <a:rPr lang="en-US" sz="1400" err="1">
                <a:ea typeface="+mn-lt"/>
                <a:cs typeface="+mn-lt"/>
              </a:rPr>
              <a:t>informasjon</a:t>
            </a:r>
            <a:r>
              <a:rPr lang="en-US" sz="1400">
                <a:ea typeface="+mn-lt"/>
                <a:cs typeface="+mn-lt"/>
              </a:rPr>
              <a:t> om </a:t>
            </a:r>
            <a:r>
              <a:rPr lang="en-US" sz="1400" err="1">
                <a:ea typeface="+mn-lt"/>
                <a:cs typeface="+mn-lt"/>
              </a:rPr>
              <a:t>antall</a:t>
            </a:r>
            <a:r>
              <a:rPr lang="en-US" sz="1400">
                <a:ea typeface="+mn-lt"/>
                <a:cs typeface="+mn-lt"/>
              </a:rPr>
              <a:t> </a:t>
            </a:r>
            <a:r>
              <a:rPr lang="en-US" sz="1400" err="1">
                <a:ea typeface="+mn-lt"/>
                <a:cs typeface="+mn-lt"/>
              </a:rPr>
              <a:t>faste</a:t>
            </a:r>
            <a:r>
              <a:rPr lang="en-US" sz="1400">
                <a:ea typeface="+mn-lt"/>
                <a:cs typeface="+mn-lt"/>
              </a:rPr>
              <a:t> </a:t>
            </a:r>
            <a:r>
              <a:rPr lang="en-US" sz="1400" err="1">
                <a:ea typeface="+mn-lt"/>
                <a:cs typeface="+mn-lt"/>
              </a:rPr>
              <a:t>stillinger</a:t>
            </a:r>
            <a:r>
              <a:rPr lang="en-US" sz="1400">
                <a:ea typeface="+mn-lt"/>
                <a:cs typeface="+mn-lt"/>
              </a:rPr>
              <a:t>, </a:t>
            </a:r>
            <a:r>
              <a:rPr lang="en-US" sz="1400" err="1">
                <a:ea typeface="+mn-lt"/>
                <a:cs typeface="+mn-lt"/>
              </a:rPr>
              <a:t>fratredelsesdato</a:t>
            </a:r>
            <a:r>
              <a:rPr lang="en-US" sz="1400">
                <a:ea typeface="+mn-lt"/>
                <a:cs typeface="+mn-lt"/>
              </a:rPr>
              <a:t> </a:t>
            </a:r>
            <a:r>
              <a:rPr lang="en-US" sz="1400" err="1">
                <a:ea typeface="+mn-lt"/>
                <a:cs typeface="+mn-lt"/>
              </a:rPr>
              <a:t>og</a:t>
            </a:r>
            <a:r>
              <a:rPr lang="en-US" sz="1400">
                <a:ea typeface="+mn-lt"/>
                <a:cs typeface="+mn-lt"/>
              </a:rPr>
              <a:t> </a:t>
            </a:r>
            <a:r>
              <a:rPr lang="en-US" sz="1400" err="1">
                <a:ea typeface="+mn-lt"/>
                <a:cs typeface="+mn-lt"/>
              </a:rPr>
              <a:t>hvem</a:t>
            </a:r>
            <a:r>
              <a:rPr lang="en-US" sz="1400">
                <a:ea typeface="+mn-lt"/>
                <a:cs typeface="+mn-lt"/>
              </a:rPr>
              <a:t> </a:t>
            </a:r>
            <a:r>
              <a:rPr lang="en-US" sz="1400" err="1">
                <a:ea typeface="+mn-lt"/>
                <a:cs typeface="+mn-lt"/>
              </a:rPr>
              <a:t>som</a:t>
            </a:r>
            <a:r>
              <a:rPr lang="en-US" sz="1400">
                <a:ea typeface="+mn-lt"/>
                <a:cs typeface="+mn-lt"/>
              </a:rPr>
              <a:t> </a:t>
            </a:r>
            <a:r>
              <a:rPr lang="en-US" sz="1400" err="1">
                <a:ea typeface="+mn-lt"/>
                <a:cs typeface="+mn-lt"/>
              </a:rPr>
              <a:t>nærmer</a:t>
            </a:r>
            <a:r>
              <a:rPr lang="en-US" sz="1400">
                <a:ea typeface="+mn-lt"/>
                <a:cs typeface="+mn-lt"/>
              </a:rPr>
              <a:t> seg </a:t>
            </a:r>
            <a:r>
              <a:rPr lang="en-US" sz="1400" err="1">
                <a:ea typeface="+mn-lt"/>
                <a:cs typeface="+mn-lt"/>
              </a:rPr>
              <a:t>pensjonsalder</a:t>
            </a:r>
            <a:r>
              <a:rPr lang="en-US" sz="1400">
                <a:ea typeface="+mn-lt"/>
                <a:cs typeface="+mn-lt"/>
              </a:rPr>
              <a:t> per </a:t>
            </a:r>
            <a:r>
              <a:rPr lang="en-US" sz="1400" err="1">
                <a:ea typeface="+mn-lt"/>
                <a:cs typeface="+mn-lt"/>
              </a:rPr>
              <a:t>stillingskode</a:t>
            </a:r>
            <a:r>
              <a:rPr lang="en-US" sz="1400">
                <a:ea typeface="+mn-lt"/>
                <a:cs typeface="+mn-lt"/>
              </a:rPr>
              <a:t>. </a:t>
            </a:r>
            <a:r>
              <a:rPr lang="en-US" sz="1400" err="1">
                <a:ea typeface="+mn-lt"/>
                <a:cs typeface="+mn-lt"/>
              </a:rPr>
              <a:t>Mulighet</a:t>
            </a:r>
            <a:r>
              <a:rPr lang="en-US" sz="1400">
                <a:ea typeface="+mn-lt"/>
                <a:cs typeface="+mn-lt"/>
              </a:rPr>
              <a:t> </a:t>
            </a:r>
            <a:r>
              <a:rPr lang="en-US" sz="1400" err="1">
                <a:ea typeface="+mn-lt"/>
                <a:cs typeface="+mn-lt"/>
              </a:rPr>
              <a:t>til</a:t>
            </a:r>
            <a:r>
              <a:rPr lang="en-US" sz="1400">
                <a:ea typeface="+mn-lt"/>
                <a:cs typeface="+mn-lt"/>
              </a:rPr>
              <a:t> drill. </a:t>
            </a:r>
          </a:p>
          <a:p>
            <a:pPr marL="1132205" lvl="1" indent="-457200">
              <a:buAutoNum type="alphaLcParenR"/>
            </a:pPr>
            <a:r>
              <a:rPr lang="en-US" sz="1400">
                <a:cs typeface="Arial"/>
              </a:rPr>
              <a:t>Data </a:t>
            </a:r>
            <a:r>
              <a:rPr lang="en-US" sz="1400" err="1">
                <a:cs typeface="Arial"/>
              </a:rPr>
              <a:t>hentes</a:t>
            </a:r>
            <a:r>
              <a:rPr lang="en-US" sz="1400">
                <a:cs typeface="Arial"/>
              </a:rPr>
              <a:t> </a:t>
            </a:r>
            <a:r>
              <a:rPr lang="en-US" sz="1400" err="1">
                <a:cs typeface="Arial"/>
              </a:rPr>
              <a:t>fra</a:t>
            </a:r>
            <a:r>
              <a:rPr lang="en-US" sz="1400">
                <a:cs typeface="Arial"/>
              </a:rPr>
              <a:t> SAP </a:t>
            </a:r>
            <a:r>
              <a:rPr lang="en-US" sz="1400" err="1">
                <a:cs typeface="Arial"/>
              </a:rPr>
              <a:t>hver</a:t>
            </a:r>
            <a:r>
              <a:rPr lang="en-US" sz="1400">
                <a:cs typeface="Arial"/>
              </a:rPr>
              <a:t> </a:t>
            </a:r>
            <a:r>
              <a:rPr lang="en-US" sz="1400" err="1">
                <a:cs typeface="Arial"/>
              </a:rPr>
              <a:t>natt</a:t>
            </a:r>
            <a:endParaRPr lang="en-US" err="1"/>
          </a:p>
          <a:p>
            <a:pPr marL="125095" indent="-125095"/>
            <a:endParaRPr lang="en-US">
              <a:cs typeface="Arial"/>
            </a:endParaRPr>
          </a:p>
          <a:p>
            <a:pPr marL="125095" indent="-125095"/>
            <a:r>
              <a:rPr lang="en-US">
                <a:cs typeface="Arial"/>
              </a:rPr>
              <a:t>UNIT4: </a:t>
            </a:r>
          </a:p>
          <a:p>
            <a:pPr marL="342900" indent="-342900">
              <a:buAutoNum type="arabicPeriod"/>
            </a:pPr>
            <a:r>
              <a:rPr lang="en-US" err="1">
                <a:cs typeface="Arial"/>
              </a:rPr>
              <a:t>Databanken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importtabell</a:t>
            </a:r>
            <a:r>
              <a:rPr lang="en-US">
                <a:cs typeface="Arial"/>
              </a:rPr>
              <a:t> (</a:t>
            </a:r>
            <a:r>
              <a:rPr lang="en-US" err="1">
                <a:cs typeface="Arial"/>
              </a:rPr>
              <a:t>Velg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Rapporter</a:t>
            </a:r>
            <a:r>
              <a:rPr lang="en-US">
                <a:cs typeface="Arial"/>
              </a:rPr>
              <a:t>, </a:t>
            </a:r>
            <a:r>
              <a:rPr lang="en-US" err="1">
                <a:cs typeface="Arial"/>
              </a:rPr>
              <a:t>Bevilgningsbudsjett</a:t>
            </a:r>
            <a:r>
              <a:rPr lang="en-US">
                <a:cs typeface="Arial"/>
              </a:rPr>
              <a:t>, </a:t>
            </a:r>
            <a:r>
              <a:rPr lang="en-US" err="1">
                <a:cs typeface="Arial"/>
              </a:rPr>
              <a:t>Kontroll</a:t>
            </a:r>
            <a:r>
              <a:rPr lang="en-US">
                <a:cs typeface="Arial"/>
              </a:rPr>
              <a:t> av </a:t>
            </a:r>
            <a:r>
              <a:rPr lang="en-US" err="1">
                <a:cs typeface="Arial"/>
              </a:rPr>
              <a:t>rapporter</a:t>
            </a:r>
            <a:r>
              <a:rPr lang="en-US">
                <a:cs typeface="Arial"/>
              </a:rPr>
              <a:t>)</a:t>
            </a:r>
          </a:p>
          <a:p>
            <a:pPr marL="1132205" lvl="1" indent="-457200">
              <a:buAutoNum type="alphaLcParenR"/>
            </a:pPr>
            <a:r>
              <a:rPr lang="en-US" sz="1400">
                <a:cs typeface="Arial"/>
              </a:rPr>
              <a:t>Gir </a:t>
            </a:r>
            <a:r>
              <a:rPr lang="en-US" sz="1400" err="1">
                <a:cs typeface="Arial"/>
              </a:rPr>
              <a:t>en</a:t>
            </a:r>
            <a:r>
              <a:rPr lang="en-US" sz="1400">
                <a:cs typeface="Arial"/>
              </a:rPr>
              <a:t> </a:t>
            </a:r>
            <a:r>
              <a:rPr lang="en-US" sz="1400" err="1">
                <a:cs typeface="Arial"/>
              </a:rPr>
              <a:t>oversikt</a:t>
            </a:r>
            <a:r>
              <a:rPr lang="en-US" sz="1400">
                <a:cs typeface="Arial"/>
              </a:rPr>
              <a:t> over alle </a:t>
            </a:r>
            <a:r>
              <a:rPr lang="en-US" sz="1400" err="1">
                <a:cs typeface="Arial"/>
              </a:rPr>
              <a:t>ansatte</a:t>
            </a:r>
            <a:r>
              <a:rPr lang="en-US" sz="1400">
                <a:cs typeface="Arial"/>
              </a:rPr>
              <a:t> for </a:t>
            </a:r>
            <a:r>
              <a:rPr lang="en-US" sz="1400" err="1">
                <a:cs typeface="Arial"/>
              </a:rPr>
              <a:t>inneværende</a:t>
            </a:r>
            <a:r>
              <a:rPr lang="en-US" sz="1400">
                <a:cs typeface="Arial"/>
              </a:rPr>
              <a:t> </a:t>
            </a:r>
            <a:r>
              <a:rPr lang="en-US" sz="1400" err="1">
                <a:cs typeface="Arial"/>
              </a:rPr>
              <a:t>år</a:t>
            </a:r>
            <a:r>
              <a:rPr lang="en-US" sz="1400">
                <a:cs typeface="Arial"/>
              </a:rPr>
              <a:t> (</a:t>
            </a:r>
            <a:r>
              <a:rPr lang="en-US" sz="1400" err="1">
                <a:cs typeface="Arial"/>
              </a:rPr>
              <a:t>og</a:t>
            </a:r>
            <a:r>
              <a:rPr lang="en-US" sz="1400">
                <a:cs typeface="Arial"/>
              </a:rPr>
              <a:t> </a:t>
            </a:r>
            <a:r>
              <a:rPr lang="en-US" sz="1400" err="1">
                <a:cs typeface="Arial"/>
              </a:rPr>
              <a:t>neste</a:t>
            </a:r>
            <a:r>
              <a:rPr lang="en-US" sz="1400">
                <a:cs typeface="Arial"/>
              </a:rPr>
              <a:t> </a:t>
            </a:r>
            <a:r>
              <a:rPr lang="en-US" sz="1400" err="1">
                <a:cs typeface="Arial"/>
              </a:rPr>
              <a:t>år</a:t>
            </a:r>
            <a:r>
              <a:rPr lang="en-US" sz="1400">
                <a:cs typeface="Arial"/>
              </a:rPr>
              <a:t>) med </a:t>
            </a:r>
            <a:r>
              <a:rPr lang="en-US" sz="1400" err="1">
                <a:cs typeface="Arial"/>
              </a:rPr>
              <a:t>årsverk</a:t>
            </a:r>
            <a:r>
              <a:rPr lang="en-US" sz="1400">
                <a:cs typeface="Arial"/>
              </a:rPr>
              <a:t> </a:t>
            </a:r>
            <a:r>
              <a:rPr lang="en-US" sz="1400" err="1">
                <a:cs typeface="Arial"/>
              </a:rPr>
              <a:t>og</a:t>
            </a:r>
            <a:r>
              <a:rPr lang="en-US" sz="1400">
                <a:cs typeface="Arial"/>
              </a:rPr>
              <a:t> </a:t>
            </a:r>
            <a:r>
              <a:rPr lang="en-US" sz="1400" err="1">
                <a:cs typeface="Arial"/>
              </a:rPr>
              <a:t>lønn</a:t>
            </a:r>
            <a:r>
              <a:rPr lang="en-US" sz="1400">
                <a:cs typeface="Arial"/>
              </a:rPr>
              <a:t>. </a:t>
            </a:r>
          </a:p>
          <a:p>
            <a:pPr marL="1132205" lvl="1" indent="-457200">
              <a:buAutoNum type="alphaLcParenR"/>
            </a:pPr>
            <a:r>
              <a:rPr lang="en-US" sz="1400" err="1">
                <a:cs typeface="Arial"/>
              </a:rPr>
              <a:t>Dataene</a:t>
            </a:r>
            <a:r>
              <a:rPr lang="en-US" sz="1400">
                <a:cs typeface="Arial"/>
              </a:rPr>
              <a:t> </a:t>
            </a:r>
            <a:r>
              <a:rPr lang="en-US" sz="1400" err="1">
                <a:cs typeface="Arial"/>
              </a:rPr>
              <a:t>hentes</a:t>
            </a:r>
            <a:r>
              <a:rPr lang="en-US" sz="1400">
                <a:cs typeface="Arial"/>
              </a:rPr>
              <a:t> </a:t>
            </a:r>
            <a:r>
              <a:rPr lang="en-US" sz="1400" err="1">
                <a:cs typeface="Arial"/>
              </a:rPr>
              <a:t>fra</a:t>
            </a:r>
            <a:r>
              <a:rPr lang="en-US" sz="1400">
                <a:cs typeface="Arial"/>
              </a:rPr>
              <a:t> SAP </a:t>
            </a:r>
            <a:r>
              <a:rPr lang="en-US" sz="1400" err="1">
                <a:cs typeface="Arial"/>
              </a:rPr>
              <a:t>hver</a:t>
            </a:r>
            <a:r>
              <a:rPr lang="en-US" sz="1400">
                <a:cs typeface="Arial"/>
              </a:rPr>
              <a:t> </a:t>
            </a:r>
            <a:r>
              <a:rPr lang="en-US" sz="1400" err="1">
                <a:cs typeface="Arial"/>
              </a:rPr>
              <a:t>måned</a:t>
            </a:r>
            <a:r>
              <a:rPr lang="en-US" sz="1400">
                <a:cs typeface="Arial"/>
              </a:rPr>
              <a:t>. </a:t>
            </a:r>
          </a:p>
          <a:p>
            <a:pPr marL="342900" indent="-342900">
              <a:buAutoNum type="arabicPeriod"/>
            </a:pPr>
            <a:r>
              <a:rPr lang="en-US" err="1">
                <a:cs typeface="Arial"/>
              </a:rPr>
              <a:t>Årsverk</a:t>
            </a:r>
            <a:r>
              <a:rPr lang="en-US">
                <a:cs typeface="Arial"/>
              </a:rPr>
              <a:t> BEVAAR 2023/med </a:t>
            </a:r>
            <a:r>
              <a:rPr lang="en-US" err="1">
                <a:cs typeface="Arial"/>
              </a:rPr>
              <a:t>budsjettversjon</a:t>
            </a:r>
            <a:r>
              <a:rPr lang="en-US">
                <a:cs typeface="Arial"/>
              </a:rPr>
              <a:t> (</a:t>
            </a:r>
            <a:r>
              <a:rPr lang="en-US" err="1">
                <a:cs typeface="Arial"/>
              </a:rPr>
              <a:t>Velg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Planlegger</a:t>
            </a:r>
            <a:r>
              <a:rPr lang="en-US">
                <a:cs typeface="Arial"/>
              </a:rPr>
              <a:t>, Delt, </a:t>
            </a:r>
            <a:r>
              <a:rPr lang="en-US" err="1">
                <a:cs typeface="Arial"/>
              </a:rPr>
              <a:t>Årsverk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budsjett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og</a:t>
            </a:r>
            <a:r>
              <a:rPr lang="en-US">
                <a:cs typeface="Arial"/>
              </a:rPr>
              <a:t> prognose) </a:t>
            </a:r>
          </a:p>
          <a:p>
            <a:pPr marL="1132205" lvl="1" indent="-457200">
              <a:buAutoNum type="alphaLcParenR"/>
            </a:pPr>
            <a:r>
              <a:rPr lang="en-US" sz="1400" err="1">
                <a:cs typeface="Arial"/>
              </a:rPr>
              <a:t>Overordnet</a:t>
            </a:r>
            <a:r>
              <a:rPr lang="en-US" sz="1400">
                <a:cs typeface="Arial"/>
              </a:rPr>
              <a:t> </a:t>
            </a:r>
            <a:r>
              <a:rPr lang="en-US" sz="1400" err="1">
                <a:cs typeface="Arial"/>
              </a:rPr>
              <a:t>oversikt</a:t>
            </a:r>
            <a:r>
              <a:rPr lang="en-US" sz="1400">
                <a:cs typeface="Arial"/>
              </a:rPr>
              <a:t> over </a:t>
            </a:r>
            <a:r>
              <a:rPr lang="en-US" sz="1400" err="1">
                <a:cs typeface="Arial"/>
              </a:rPr>
              <a:t>antall</a:t>
            </a:r>
            <a:r>
              <a:rPr lang="en-US" sz="1400">
                <a:cs typeface="Arial"/>
              </a:rPr>
              <a:t> </a:t>
            </a:r>
            <a:r>
              <a:rPr lang="en-US" sz="1400" err="1">
                <a:cs typeface="Arial"/>
              </a:rPr>
              <a:t>årsverk</a:t>
            </a:r>
            <a:r>
              <a:rPr lang="en-US" sz="1400">
                <a:cs typeface="Arial"/>
              </a:rPr>
              <a:t> </a:t>
            </a:r>
            <a:r>
              <a:rPr lang="en-US" sz="1400" err="1">
                <a:cs typeface="Arial"/>
              </a:rPr>
              <a:t>og</a:t>
            </a:r>
            <a:r>
              <a:rPr lang="en-US" sz="1400">
                <a:cs typeface="Arial"/>
              </a:rPr>
              <a:t> </a:t>
            </a:r>
            <a:r>
              <a:rPr lang="en-US" sz="1400" err="1">
                <a:cs typeface="Arial"/>
              </a:rPr>
              <a:t>lønn</a:t>
            </a:r>
            <a:r>
              <a:rPr lang="en-US" sz="1400">
                <a:cs typeface="Arial"/>
              </a:rPr>
              <a:t> per </a:t>
            </a:r>
            <a:r>
              <a:rPr lang="en-US" sz="1400" err="1">
                <a:cs typeface="Arial"/>
              </a:rPr>
              <a:t>stillingskode</a:t>
            </a:r>
            <a:r>
              <a:rPr lang="en-US" sz="1400">
                <a:cs typeface="Arial"/>
              </a:rPr>
              <a:t> med drill </a:t>
            </a:r>
            <a:r>
              <a:rPr lang="en-US" sz="1400" err="1">
                <a:cs typeface="Arial"/>
              </a:rPr>
              <a:t>til</a:t>
            </a:r>
            <a:r>
              <a:rPr lang="en-US" sz="1400">
                <a:cs typeface="Arial"/>
              </a:rPr>
              <a:t> </a:t>
            </a:r>
            <a:r>
              <a:rPr lang="en-US" sz="1400" err="1">
                <a:cs typeface="Arial"/>
              </a:rPr>
              <a:t>detaljer</a:t>
            </a:r>
            <a:endParaRPr lang="en-US" sz="1400">
              <a:cs typeface="Arial"/>
            </a:endParaRPr>
          </a:p>
          <a:p>
            <a:pPr marL="1132205" lvl="1" indent="-457200">
              <a:buAutoNum type="alphaLcParenR"/>
            </a:pPr>
            <a:r>
              <a:rPr lang="en-US" sz="1400">
                <a:cs typeface="Arial"/>
              </a:rPr>
              <a:t>Data </a:t>
            </a:r>
            <a:r>
              <a:rPr lang="en-US" sz="1400" err="1">
                <a:cs typeface="Arial"/>
              </a:rPr>
              <a:t>hentes</a:t>
            </a:r>
            <a:r>
              <a:rPr lang="en-US" sz="1400">
                <a:cs typeface="Arial"/>
              </a:rPr>
              <a:t> </a:t>
            </a:r>
            <a:r>
              <a:rPr lang="en-US" sz="1400" err="1">
                <a:cs typeface="Arial"/>
              </a:rPr>
              <a:t>fra</a:t>
            </a:r>
            <a:r>
              <a:rPr lang="en-US" sz="1400">
                <a:cs typeface="Arial"/>
              </a:rPr>
              <a:t> </a:t>
            </a:r>
            <a:r>
              <a:rPr lang="en-US" sz="1400" err="1">
                <a:cs typeface="Arial"/>
              </a:rPr>
              <a:t>Planlegger</a:t>
            </a:r>
            <a:r>
              <a:rPr lang="en-US" sz="1400">
                <a:cs typeface="Arial"/>
              </a:rPr>
              <a:t> </a:t>
            </a:r>
          </a:p>
          <a:p>
            <a:pPr marL="0" indent="0"/>
            <a:endParaRPr lang="en-US">
              <a:cs typeface="Arial"/>
            </a:endParaRPr>
          </a:p>
          <a:p>
            <a:pPr marL="0" indent="0"/>
            <a:endParaRPr lang="en-US">
              <a:cs typeface="Arial"/>
            </a:endParaRPr>
          </a:p>
          <a:p>
            <a:pPr marL="0" indent="0"/>
            <a:endParaRPr lang="en-US">
              <a:cs typeface="Arial"/>
            </a:endParaRPr>
          </a:p>
          <a:p>
            <a:pPr marL="342900" indent="-342900">
              <a:buAutoNum type="arabicPeriod"/>
            </a:pPr>
            <a:endParaRPr lang="en-US">
              <a:cs typeface="Arial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C08697-6A4F-A17E-F6E7-60E24FE92F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3E141C-3FDF-299B-F1E6-F57AF98274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847F357-FC96-B11A-9FEE-E31E5D1FB8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Forts. </a:t>
            </a:r>
            <a:r>
              <a:rPr lang="en-US" err="1">
                <a:cs typeface="Arial"/>
              </a:rPr>
              <a:t>Relevante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rapporter</a:t>
            </a:r>
            <a:endParaRPr lang="en-US">
              <a:cs typeface="Arial"/>
            </a:endParaRPr>
          </a:p>
        </p:txBody>
      </p:sp>
      <p:pic>
        <p:nvPicPr>
          <p:cNvPr id="8" name="Picture 8" descr="Graphical user interface, chart, application&#10;&#10;Description automatically generated">
            <a:extLst>
              <a:ext uri="{FF2B5EF4-FFF2-40B4-BE49-F238E27FC236}">
                <a16:creationId xmlns:a16="http://schemas.microsoft.com/office/drawing/2014/main" id="{A5BEF842-F714-CC1B-5738-74D03F6DBF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9531" y="476525"/>
            <a:ext cx="4042347" cy="1376671"/>
          </a:xfrm>
          <a:prstGeom prst="rect">
            <a:avLst/>
          </a:prstGeom>
        </p:spPr>
      </p:pic>
      <p:pic>
        <p:nvPicPr>
          <p:cNvPr id="9" name="Picture 9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ABE687A9-9525-F967-08B8-1C55A63242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65891" y="4729316"/>
            <a:ext cx="2124856" cy="1896417"/>
          </a:xfrm>
          <a:prstGeom prst="rect">
            <a:avLst/>
          </a:prstGeom>
        </p:spPr>
      </p:pic>
      <p:pic>
        <p:nvPicPr>
          <p:cNvPr id="10" name="Picture 10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D1CC65A9-E1A5-865B-333E-82111E10A16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71024" y="2399889"/>
            <a:ext cx="2112364" cy="2414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92697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EFB4B53-17C6-51B6-3C35-D1D805CF26F1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0" indent="0"/>
            <a:r>
              <a:rPr lang="en-US" b="1" dirty="0">
                <a:ea typeface="+mn-lt"/>
                <a:cs typeface="+mn-lt"/>
              </a:rPr>
              <a:t>BOAVUR: </a:t>
            </a:r>
            <a:endParaRPr lang="en-US" dirty="0">
              <a:ea typeface="+mn-lt"/>
              <a:cs typeface="+mn-lt"/>
            </a:endParaRPr>
          </a:p>
          <a:p>
            <a:pPr marL="0" indent="0"/>
            <a:r>
              <a:rPr lang="en-US" dirty="0">
                <a:ea typeface="+mn-lt"/>
                <a:cs typeface="+mn-lt"/>
              </a:rPr>
              <a:t>Tableau: </a:t>
            </a:r>
          </a:p>
          <a:p>
            <a:pPr marL="342900" indent="-342900">
              <a:buAutoNum type="arabicPeriod"/>
            </a:pPr>
            <a:r>
              <a:rPr lang="en-US">
                <a:ea typeface="+mn-lt"/>
                <a:cs typeface="+mn-lt"/>
                <a:hlinkClick r:id="rId2"/>
              </a:rPr>
              <a:t>Langtidsprognose BOAVUR</a:t>
            </a:r>
            <a:r>
              <a:rPr lang="en-US">
                <a:ea typeface="+mn-lt"/>
                <a:cs typeface="+mn-lt"/>
              </a:rPr>
              <a:t> (I </a:t>
            </a:r>
            <a:r>
              <a:rPr lang="en-US" err="1">
                <a:ea typeface="+mn-lt"/>
                <a:cs typeface="+mn-lt"/>
              </a:rPr>
              <a:t>mappen</a:t>
            </a:r>
            <a:r>
              <a:rPr lang="en-US">
                <a:ea typeface="+mn-lt"/>
                <a:cs typeface="+mn-lt"/>
              </a:rPr>
              <a:t> "</a:t>
            </a:r>
            <a:r>
              <a:rPr lang="en-US" err="1">
                <a:ea typeface="+mn-lt"/>
                <a:cs typeface="+mn-lt"/>
              </a:rPr>
              <a:t>UiO</a:t>
            </a:r>
            <a:r>
              <a:rPr lang="en-US">
                <a:ea typeface="+mn-lt"/>
                <a:cs typeface="+mn-lt"/>
              </a:rPr>
              <a:t> </a:t>
            </a:r>
            <a:r>
              <a:rPr lang="en-US" err="1">
                <a:ea typeface="+mn-lt"/>
                <a:cs typeface="+mn-lt"/>
              </a:rPr>
              <a:t>Prosjektoppfølging</a:t>
            </a:r>
            <a:r>
              <a:rPr lang="en-US">
                <a:ea typeface="+mn-lt"/>
                <a:cs typeface="+mn-lt"/>
              </a:rPr>
              <a:t>)</a:t>
            </a:r>
            <a:endParaRPr lang="en-US">
              <a:solidFill>
                <a:srgbClr val="FF0000"/>
              </a:solidFill>
              <a:ea typeface="+mn-lt"/>
              <a:cs typeface="+mn-lt"/>
            </a:endParaRPr>
          </a:p>
          <a:p>
            <a:pPr marL="1132205" lvl="1" indent="-457200">
              <a:buFont typeface="Wingdings" panose="05000000000000000000" pitchFamily="2" charset="2"/>
              <a:buAutoNum type="alphaLcParenR"/>
            </a:pPr>
            <a:r>
              <a:rPr lang="en-US" sz="1400" err="1">
                <a:ea typeface="+mn-lt"/>
                <a:cs typeface="+mn-lt"/>
              </a:rPr>
              <a:t>Sammenligne</a:t>
            </a:r>
            <a:r>
              <a:rPr lang="en-US" sz="1400">
                <a:ea typeface="+mn-lt"/>
                <a:cs typeface="+mn-lt"/>
              </a:rPr>
              <a:t> BOAPRO med </a:t>
            </a:r>
            <a:r>
              <a:rPr lang="en-US" sz="1400" err="1">
                <a:ea typeface="+mn-lt"/>
                <a:cs typeface="+mn-lt"/>
              </a:rPr>
              <a:t>tidligere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innleverte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budsjettversjoner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på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smartnivå</a:t>
            </a:r>
            <a:r>
              <a:rPr lang="en-US" sz="1400">
                <a:ea typeface="+mn-lt"/>
                <a:cs typeface="+mn-lt"/>
              </a:rPr>
              <a:t> f. </a:t>
            </a:r>
            <a:r>
              <a:rPr lang="en-US" sz="1400" err="1">
                <a:ea typeface="+mn-lt"/>
                <a:cs typeface="+mn-lt"/>
              </a:rPr>
              <a:t>eks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nettobidrag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og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inntekter</a:t>
            </a:r>
            <a:r>
              <a:rPr lang="en-US" sz="1400">
                <a:ea typeface="+mn-lt"/>
                <a:cs typeface="+mn-lt"/>
              </a:rPr>
              <a:t>. </a:t>
            </a:r>
          </a:p>
          <a:p>
            <a:pPr marL="1132205" lvl="1" indent="-457200">
              <a:buAutoNum type="alphaLcParenR"/>
            </a:pPr>
            <a:r>
              <a:rPr lang="en-US" sz="1400" err="1">
                <a:ea typeface="+mn-lt"/>
                <a:cs typeface="+mn-lt"/>
              </a:rPr>
              <a:t>Oversikt</a:t>
            </a:r>
            <a:r>
              <a:rPr lang="en-US" sz="1400">
                <a:ea typeface="+mn-lt"/>
                <a:cs typeface="+mn-lt"/>
              </a:rPr>
              <a:t> over </a:t>
            </a:r>
            <a:r>
              <a:rPr lang="en-US" sz="1400" err="1">
                <a:ea typeface="+mn-lt"/>
                <a:cs typeface="+mn-lt"/>
              </a:rPr>
              <a:t>hvilken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informasjon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som</a:t>
            </a:r>
            <a:r>
              <a:rPr lang="en-US" sz="1400">
                <a:ea typeface="+mn-lt"/>
                <a:cs typeface="+mn-lt"/>
              </a:rPr>
              <a:t> ligger </a:t>
            </a:r>
            <a:r>
              <a:rPr lang="en-US" sz="1400" err="1">
                <a:ea typeface="+mn-lt"/>
                <a:cs typeface="+mn-lt"/>
              </a:rPr>
              <a:t>i</a:t>
            </a:r>
            <a:r>
              <a:rPr lang="en-US" sz="1400">
                <a:ea typeface="+mn-lt"/>
                <a:cs typeface="+mn-lt"/>
              </a:rPr>
              <a:t> BOAVUR </a:t>
            </a:r>
            <a:r>
              <a:rPr lang="en-US" sz="1400" err="1">
                <a:ea typeface="+mn-lt"/>
                <a:cs typeface="+mn-lt"/>
              </a:rPr>
              <a:t>og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hvilke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prosjekt</a:t>
            </a:r>
            <a:r>
              <a:rPr lang="en-US" sz="1400">
                <a:ea typeface="+mn-lt"/>
                <a:cs typeface="+mn-lt"/>
              </a:rPr>
              <a:t> </a:t>
            </a:r>
            <a:r>
              <a:rPr lang="en-US" sz="1400" err="1">
                <a:ea typeface="+mn-lt"/>
                <a:cs typeface="+mn-lt"/>
              </a:rPr>
              <a:t>som</a:t>
            </a:r>
            <a:r>
              <a:rPr lang="en-US" sz="1400">
                <a:ea typeface="+mn-lt"/>
                <a:cs typeface="+mn-lt"/>
              </a:rPr>
              <a:t> er </a:t>
            </a:r>
            <a:r>
              <a:rPr lang="en-US" sz="1400" err="1">
                <a:ea typeface="+mn-lt"/>
                <a:cs typeface="+mn-lt"/>
              </a:rPr>
              <a:t>inkludert</a:t>
            </a:r>
            <a:r>
              <a:rPr lang="en-US" sz="1400">
                <a:ea typeface="+mn-lt"/>
                <a:cs typeface="+mn-lt"/>
              </a:rPr>
              <a:t>.</a:t>
            </a:r>
            <a:r>
              <a:rPr lang="en-US">
                <a:ea typeface="+mn-lt"/>
                <a:cs typeface="+mn-lt"/>
              </a:rPr>
              <a:t> </a:t>
            </a:r>
          </a:p>
          <a:p>
            <a:pPr marL="0" indent="0"/>
            <a:endParaRPr lang="en-US">
              <a:ea typeface="+mn-lt"/>
              <a:cs typeface="+mn-lt"/>
            </a:endParaRPr>
          </a:p>
          <a:p>
            <a:pPr marL="0" indent="0"/>
            <a:r>
              <a:rPr lang="en-US">
                <a:ea typeface="+mn-lt"/>
                <a:cs typeface="+mn-lt"/>
              </a:rPr>
              <a:t>UNIT4: </a:t>
            </a:r>
            <a:endParaRPr lang="en-US">
              <a:solidFill>
                <a:srgbClr val="FF0000"/>
              </a:solidFill>
              <a:ea typeface="+mn-lt"/>
              <a:cs typeface="+mn-lt"/>
            </a:endParaRPr>
          </a:p>
          <a:p>
            <a:pPr marL="0" indent="0"/>
            <a:r>
              <a:rPr lang="en-US">
                <a:ea typeface="+mn-lt"/>
                <a:cs typeface="+mn-lt"/>
              </a:rPr>
              <a:t>1</a:t>
            </a:r>
            <a:r>
              <a:rPr lang="en-US" dirty="0">
                <a:ea typeface="+mn-lt"/>
                <a:cs typeface="+mn-lt"/>
              </a:rPr>
              <a:t>. </a:t>
            </a:r>
            <a:r>
              <a:rPr lang="en-US" dirty="0" err="1">
                <a:ea typeface="+mn-lt"/>
                <a:cs typeface="+mn-lt"/>
              </a:rPr>
              <a:t>Tableauoppsett</a:t>
            </a:r>
            <a:r>
              <a:rPr lang="en-US" dirty="0">
                <a:ea typeface="+mn-lt"/>
                <a:cs typeface="+mn-lt"/>
              </a:rPr>
              <a:t> BEV/BOA (</a:t>
            </a:r>
            <a:r>
              <a:rPr lang="en-US" err="1">
                <a:ea typeface="+mn-lt"/>
                <a:cs typeface="+mn-lt"/>
              </a:rPr>
              <a:t>Velg</a:t>
            </a:r>
            <a:r>
              <a:rPr lang="en-US">
                <a:ea typeface="+mn-lt"/>
                <a:cs typeface="+mn-lt"/>
              </a:rPr>
              <a:t> </a:t>
            </a:r>
            <a:r>
              <a:rPr lang="en-US" dirty="0" err="1">
                <a:ea typeface="+mn-lt"/>
                <a:cs typeface="+mn-lt"/>
              </a:rPr>
              <a:t>Planlegger</a:t>
            </a:r>
            <a:r>
              <a:rPr lang="en-US" dirty="0">
                <a:ea typeface="+mn-lt"/>
                <a:cs typeface="+mn-lt"/>
              </a:rPr>
              <a:t>, Delt, Information browser)</a:t>
            </a:r>
            <a:endParaRPr lang="en-US">
              <a:ea typeface="+mn-lt"/>
              <a:cs typeface="+mn-lt"/>
            </a:endParaRPr>
          </a:p>
          <a:p>
            <a:pPr marL="903605" lvl="1" indent="-457200">
              <a:buAutoNum type="alphaLcParenR"/>
            </a:pPr>
            <a:r>
              <a:rPr lang="en-US" sz="1400">
                <a:ea typeface="+mn-lt"/>
                <a:cs typeface="+mn-lt"/>
              </a:rPr>
              <a:t>Alle planleggertransaksjoner med smartgruppering</a:t>
            </a:r>
            <a:endParaRPr lang="en-US" sz="1400">
              <a:cs typeface="Arial"/>
            </a:endParaRPr>
          </a:p>
          <a:p>
            <a:pPr marL="903605" lvl="1" indent="-457200">
              <a:buAutoNum type="alphaLcParenR"/>
            </a:pPr>
            <a:r>
              <a:rPr lang="en-US" sz="1400">
                <a:ea typeface="+mn-lt"/>
                <a:cs typeface="+mn-lt"/>
              </a:rPr>
              <a:t>Velg</a:t>
            </a:r>
            <a:r>
              <a:rPr lang="en-US" sz="1400" dirty="0">
                <a:ea typeface="+mn-lt"/>
                <a:cs typeface="+mn-lt"/>
              </a:rPr>
              <a:t> </a:t>
            </a:r>
            <a:r>
              <a:rPr lang="en-US" sz="1400">
                <a:ea typeface="+mn-lt"/>
                <a:cs typeface="+mn-lt"/>
              </a:rPr>
              <a:t>analyser</a:t>
            </a:r>
            <a:r>
              <a:rPr lang="en-US" sz="1400" dirty="0">
                <a:ea typeface="+mn-lt"/>
                <a:cs typeface="+mn-lt"/>
              </a:rPr>
              <a:t> </a:t>
            </a:r>
            <a:r>
              <a:rPr lang="en-US" sz="1400" dirty="0" err="1">
                <a:ea typeface="+mn-lt"/>
                <a:cs typeface="+mn-lt"/>
              </a:rPr>
              <a:t>og</a:t>
            </a:r>
            <a:r>
              <a:rPr lang="en-US" sz="1400" dirty="0">
                <a:ea typeface="+mn-lt"/>
                <a:cs typeface="+mn-lt"/>
              </a:rPr>
              <a:t> BOAVUR for å se </a:t>
            </a:r>
            <a:r>
              <a:rPr lang="en-US" sz="1400" dirty="0" err="1">
                <a:ea typeface="+mn-lt"/>
                <a:cs typeface="+mn-lt"/>
              </a:rPr>
              <a:t>oppdaterte</a:t>
            </a:r>
            <a:r>
              <a:rPr lang="en-US" sz="1400" dirty="0">
                <a:ea typeface="+mn-lt"/>
                <a:cs typeface="+mn-lt"/>
              </a:rPr>
              <a:t> tall med </a:t>
            </a:r>
            <a:r>
              <a:rPr lang="en-US" sz="1400" dirty="0" err="1">
                <a:ea typeface="+mn-lt"/>
                <a:cs typeface="+mn-lt"/>
              </a:rPr>
              <a:t>en</a:t>
            </a:r>
            <a:r>
              <a:rPr lang="en-US" sz="1400" dirty="0">
                <a:ea typeface="+mn-lt"/>
                <a:cs typeface="+mn-lt"/>
              </a:rPr>
              <a:t> gang </a:t>
            </a:r>
            <a:r>
              <a:rPr lang="en-US" sz="1400" dirty="0" err="1">
                <a:ea typeface="+mn-lt"/>
                <a:cs typeface="+mn-lt"/>
              </a:rPr>
              <a:t>endringer</a:t>
            </a:r>
            <a:r>
              <a:rPr lang="en-US" sz="1400" dirty="0">
                <a:ea typeface="+mn-lt"/>
                <a:cs typeface="+mn-lt"/>
              </a:rPr>
              <a:t> er </a:t>
            </a:r>
            <a:r>
              <a:rPr lang="en-US" sz="1400" dirty="0" err="1">
                <a:ea typeface="+mn-lt"/>
                <a:cs typeface="+mn-lt"/>
              </a:rPr>
              <a:t>gjort</a:t>
            </a:r>
            <a:r>
              <a:rPr lang="en-US" sz="1400" dirty="0">
                <a:ea typeface="+mn-lt"/>
                <a:cs typeface="+mn-lt"/>
              </a:rPr>
              <a:t> I UNIT4.  </a:t>
            </a:r>
            <a:endParaRPr lang="en-US" sz="1400" dirty="0">
              <a:cs typeface="Arial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F69A5E-E715-CD0E-98B8-F699C69EE3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ADE1DB-F801-50FD-D5F2-FAFB0D4856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82A5E71-F74E-8536-E588-D432B803A8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Forts. </a:t>
            </a:r>
            <a:r>
              <a:rPr lang="en-US" err="1">
                <a:cs typeface="Arial"/>
              </a:rPr>
              <a:t>Relevante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rapporter</a:t>
            </a:r>
            <a:endParaRPr lang="en-US" err="1"/>
          </a:p>
        </p:txBody>
      </p:sp>
      <p:pic>
        <p:nvPicPr>
          <p:cNvPr id="7" name="Picture 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9D797AB6-4762-A322-4511-7FFB7929ED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78056" y="3056370"/>
            <a:ext cx="2362200" cy="182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2272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6BBDC3"/>
            </a:gs>
            <a:gs pos="50000">
              <a:schemeClr val="bg2">
                <a:tint val="98000"/>
                <a:satMod val="130000"/>
                <a:shade val="90000"/>
                <a:lumMod val="103000"/>
              </a:schemeClr>
            </a:gs>
            <a:gs pos="100000">
              <a:schemeClr val="bg2">
                <a:shade val="63000"/>
                <a:satMod val="12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33F7B2F4-AA1B-C041-E206-DAD8B655B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6" name="Tittel 5">
            <a:extLst>
              <a:ext uri="{FF2B5EF4-FFF2-40B4-BE49-F238E27FC236}">
                <a16:creationId xmlns:a16="http://schemas.microsoft.com/office/drawing/2014/main" id="{ADA0FC8A-1DD7-04A9-845B-1832C2E4CFC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b="1"/>
              <a:t>Evt. andre spørsmål?</a:t>
            </a:r>
          </a:p>
        </p:txBody>
      </p:sp>
    </p:spTree>
    <p:extLst>
      <p:ext uri="{BB962C8B-B14F-4D97-AF65-F5344CB8AC3E}">
        <p14:creationId xmlns:p14="http://schemas.microsoft.com/office/powerpoint/2010/main" val="41320451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E21639-0E1C-45BF-A6A1-0DC4529CA5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76376" y="2906715"/>
            <a:ext cx="9326880" cy="1500186"/>
          </a:xfrm>
        </p:spPr>
        <p:txBody>
          <a:bodyPr anchor="ctr"/>
          <a:lstStyle/>
          <a:p>
            <a:pPr algn="ctr"/>
            <a:r>
              <a:rPr lang="nb-NO" sz="4320" b="1"/>
              <a:t>TAKK FOR  NÅ!</a:t>
            </a:r>
            <a:endParaRPr lang="nb-NO" sz="4320"/>
          </a:p>
        </p:txBody>
      </p:sp>
      <p:pic>
        <p:nvPicPr>
          <p:cNvPr id="4" name="Graphic 3" descr="Balloons">
            <a:extLst>
              <a:ext uri="{FF2B5EF4-FFF2-40B4-BE49-F238E27FC236}">
                <a16:creationId xmlns:a16="http://schemas.microsoft.com/office/drawing/2014/main" id="{08072DD3-1DB7-4A7B-83C0-7B0ED6818B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16030">
            <a:off x="8547144" y="2585921"/>
            <a:ext cx="1703203" cy="1703203"/>
          </a:xfrm>
          <a:prstGeom prst="rect">
            <a:avLst/>
          </a:prstGeom>
        </p:spPr>
      </p:pic>
      <p:pic>
        <p:nvPicPr>
          <p:cNvPr id="5" name="Graphic 4" descr="Balloons">
            <a:extLst>
              <a:ext uri="{FF2B5EF4-FFF2-40B4-BE49-F238E27FC236}">
                <a16:creationId xmlns:a16="http://schemas.microsoft.com/office/drawing/2014/main" id="{8E642852-3574-449D-B524-B6996839F0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1094692">
            <a:off x="1943889" y="2588155"/>
            <a:ext cx="1703203" cy="1703203"/>
          </a:xfrm>
          <a:prstGeom prst="rect">
            <a:avLst/>
          </a:prstGeom>
        </p:spPr>
      </p:pic>
      <p:sp>
        <p:nvSpPr>
          <p:cNvPr id="2" name="TekstSylinder 1">
            <a:extLst>
              <a:ext uri="{FF2B5EF4-FFF2-40B4-BE49-F238E27FC236}">
                <a16:creationId xmlns:a16="http://schemas.microsoft.com/office/drawing/2014/main" id="{D0D8AEAC-A010-00D1-391E-A3867BCF60C9}"/>
              </a:ext>
            </a:extLst>
          </p:cNvPr>
          <p:cNvSpPr txBox="1"/>
          <p:nvPr/>
        </p:nvSpPr>
        <p:spPr>
          <a:xfrm>
            <a:off x="4957010" y="4914900"/>
            <a:ext cx="255671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600"/>
              <a:t>Flere spørsmål?</a:t>
            </a:r>
          </a:p>
          <a:p>
            <a:pPr algn="ctr"/>
            <a:r>
              <a:rPr lang="nb-NO" sz="1600" b="1"/>
              <a:t>budsjett@admin.uio.no</a:t>
            </a:r>
          </a:p>
        </p:txBody>
      </p:sp>
    </p:spTree>
    <p:extLst>
      <p:ext uri="{BB962C8B-B14F-4D97-AF65-F5344CB8AC3E}">
        <p14:creationId xmlns:p14="http://schemas.microsoft.com/office/powerpoint/2010/main" val="27752329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C7111E-BCD5-4713-BF29-55C3643B16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97280">
              <a:defRPr/>
            </a:pPr>
            <a:fld id="{AA8916B1-5B0A-4BA8-8794-3D037D7341E7}" type="slidenum">
              <a:rPr lang="en-US" altLang="nb-NO">
                <a:solidFill>
                  <a:srgbClr val="808080"/>
                </a:solidFill>
                <a:latin typeface="Arial"/>
                <a:ea typeface="ヒラギノ角ゴ Pro W3"/>
              </a:rPr>
              <a:pPr defTabSz="1097280">
                <a:defRPr/>
              </a:pPr>
              <a:t>2</a:t>
            </a:fld>
            <a:endParaRPr lang="en-US" altLang="nb-NO">
              <a:solidFill>
                <a:srgbClr val="808080"/>
              </a:solidFill>
              <a:latin typeface="Arial"/>
              <a:ea typeface="ヒラギノ角ゴ Pro W3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C66D199-D730-4F9D-8B44-6B60D0ACE054}"/>
              </a:ext>
            </a:extLst>
          </p:cNvPr>
          <p:cNvSpPr/>
          <p:nvPr/>
        </p:nvSpPr>
        <p:spPr bwMode="auto">
          <a:xfrm>
            <a:off x="1349164" y="1143165"/>
            <a:ext cx="10256520" cy="5074920"/>
          </a:xfrm>
          <a:prstGeom prst="rect">
            <a:avLst/>
          </a:prstGeom>
          <a:gradFill>
            <a:gsLst>
              <a:gs pos="0">
                <a:schemeClr val="bg1"/>
              </a:gs>
              <a:gs pos="50000">
                <a:srgbClr val="6BBDC3">
                  <a:alpha val="50000"/>
                </a:srgbClr>
              </a:gs>
              <a:gs pos="100000">
                <a:srgbClr val="6BBDC3"/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9728" tIns="54864" rIns="109728" bIns="54864" numCol="1" rtlCol="0" anchor="t" anchorCtr="0" compatLnSpc="1">
            <a:prstTxWarp prst="textNoShape">
              <a:avLst/>
            </a:prstTxWarp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nb-NO" sz="5280" b="1">
              <a:solidFill>
                <a:srgbClr val="000000"/>
              </a:solidFill>
              <a:latin typeface="Arial"/>
              <a:ea typeface="ヒラギノ角ゴ Pro W3"/>
            </a:endParaRPr>
          </a:p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5280" b="1">
                <a:solidFill>
                  <a:srgbClr val="000000"/>
                </a:solidFill>
                <a:latin typeface="Arial"/>
                <a:ea typeface="ヒラギノ角ゴ Pro W3"/>
              </a:rPr>
              <a:t>Velkommen!</a:t>
            </a:r>
            <a:endParaRPr lang="nb-NO" sz="5280" b="1">
              <a:solidFill>
                <a:srgbClr val="000000"/>
              </a:solidFill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pic>
        <p:nvPicPr>
          <p:cNvPr id="105474" name="Picture 2" descr="Bilde av Marianne Sinead Flesland">
            <a:extLst>
              <a:ext uri="{FF2B5EF4-FFF2-40B4-BE49-F238E27FC236}">
                <a16:creationId xmlns:a16="http://schemas.microsoft.com/office/drawing/2014/main" id="{09501224-6D71-3212-0D4B-8B2B1E78A6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4520" y="3487081"/>
            <a:ext cx="1077356" cy="1551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A05AA3B1-5A67-EDC8-6C55-26092DEEC715}"/>
              </a:ext>
            </a:extLst>
          </p:cNvPr>
          <p:cNvSpPr txBox="1"/>
          <p:nvPr/>
        </p:nvSpPr>
        <p:spPr>
          <a:xfrm>
            <a:off x="8030227" y="5175568"/>
            <a:ext cx="3025942" cy="938719"/>
          </a:xfrm>
          <a:prstGeom prst="rect">
            <a:avLst/>
          </a:prstGeom>
          <a:solidFill>
            <a:srgbClr val="FFFFFF">
              <a:alpha val="20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sz="1000" b="1"/>
              <a:t>Marianne S. Flesland</a:t>
            </a:r>
          </a:p>
          <a:p>
            <a:pPr algn="ctr"/>
            <a:r>
              <a:rPr lang="nb-NO"/>
              <a:t>Seksjon for prosjekt/prosessforbedring</a:t>
            </a:r>
          </a:p>
          <a:p>
            <a:pPr algn="ctr"/>
            <a:r>
              <a:rPr lang="nb-NO" b="0" i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Avdeling for økonomi- og virksomhetsstyring (ØVA)</a:t>
            </a:r>
          </a:p>
          <a:p>
            <a:pPr algn="ctr"/>
            <a:r>
              <a:rPr lang="nb-NO" b="0" i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Fellesadministrasjonen</a:t>
            </a:r>
          </a:p>
          <a:p>
            <a:pPr algn="ctr"/>
            <a:endParaRPr lang="nb-NO">
              <a:solidFill>
                <a:srgbClr val="000000"/>
              </a:solidFill>
              <a:latin typeface="Helvetica" panose="020B0604020202020204" pitchFamily="34" charset="0"/>
            </a:endParaRPr>
          </a:p>
          <a:p>
            <a:pPr algn="ctr"/>
            <a:r>
              <a:rPr lang="nb-NO" b="0" i="1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Prosessrådgiver budsjett/prognose</a:t>
            </a:r>
          </a:p>
        </p:txBody>
      </p:sp>
      <p:pic>
        <p:nvPicPr>
          <p:cNvPr id="105476" name="Picture 4" descr="Bilde av Jon Christian Ottersen">
            <a:extLst>
              <a:ext uri="{FF2B5EF4-FFF2-40B4-BE49-F238E27FC236}">
                <a16:creationId xmlns:a16="http://schemas.microsoft.com/office/drawing/2014/main" id="{98BD0201-E386-A3DA-6110-0141BD351D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3557" y="3487081"/>
            <a:ext cx="1163932" cy="1551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B57C3B7F-0828-8096-C23C-2EC4258EC609}"/>
              </a:ext>
            </a:extLst>
          </p:cNvPr>
          <p:cNvSpPr txBox="1"/>
          <p:nvPr/>
        </p:nvSpPr>
        <p:spPr>
          <a:xfrm>
            <a:off x="2352552" y="5175568"/>
            <a:ext cx="3025942" cy="938719"/>
          </a:xfrm>
          <a:prstGeom prst="rect">
            <a:avLst/>
          </a:prstGeom>
          <a:solidFill>
            <a:srgbClr val="FFFFFF">
              <a:alpha val="20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sz="1000" b="1"/>
              <a:t>Jon Christian Ottersen</a:t>
            </a:r>
          </a:p>
          <a:p>
            <a:pPr algn="ctr"/>
            <a:r>
              <a:rPr lang="nb-NO" b="0" i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Seksjon for virksomhets- og økonomistyring</a:t>
            </a:r>
          </a:p>
          <a:p>
            <a:pPr algn="ctr"/>
            <a:r>
              <a:rPr lang="nb-NO" b="0" i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Avdeling for økonomi- og virksomhetsstyring (ØVA)</a:t>
            </a:r>
          </a:p>
          <a:p>
            <a:pPr algn="ctr"/>
            <a:r>
              <a:rPr lang="nb-NO" b="0" i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Fellesadministrasjonen</a:t>
            </a:r>
          </a:p>
          <a:p>
            <a:pPr algn="ctr"/>
            <a:endParaRPr lang="nb-NO">
              <a:solidFill>
                <a:srgbClr val="000000"/>
              </a:solidFill>
              <a:latin typeface="Helvetica" panose="020B0604020202020204" pitchFamily="34" charset="0"/>
            </a:endParaRPr>
          </a:p>
          <a:p>
            <a:pPr algn="ctr"/>
            <a:r>
              <a:rPr lang="nb-NO" b="0" i="1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Prosessansvarlig budsjett/prognose</a:t>
            </a:r>
          </a:p>
        </p:txBody>
      </p:sp>
    </p:spTree>
    <p:extLst>
      <p:ext uri="{BB962C8B-B14F-4D97-AF65-F5344CB8AC3E}">
        <p14:creationId xmlns:p14="http://schemas.microsoft.com/office/powerpoint/2010/main" val="19971115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4B63BBB-7669-4F07-8E7A-85307397D9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8091" y="879128"/>
            <a:ext cx="11096746" cy="5246370"/>
          </a:xfrm>
        </p:spPr>
        <p:txBody>
          <a:bodyPr/>
          <a:lstStyle/>
          <a:p>
            <a:pPr marL="0" indent="0">
              <a:buNone/>
            </a:pPr>
            <a:r>
              <a:rPr lang="nb-NO" sz="2850" b="1" dirty="0"/>
              <a:t>Agenda:</a:t>
            </a:r>
          </a:p>
          <a:p>
            <a:pPr marL="0" indent="0">
              <a:buNone/>
            </a:pPr>
            <a:endParaRPr lang="nb-NO" sz="2850" b="1" dirty="0"/>
          </a:p>
          <a:p>
            <a:pPr marL="548640" indent="-548640">
              <a:buAutoNum type="arabicPeriod"/>
            </a:pPr>
            <a:r>
              <a:rPr lang="nb-NO" sz="2400" dirty="0" err="1"/>
              <a:t>Årskalender</a:t>
            </a:r>
            <a:r>
              <a:rPr lang="nb-NO" sz="2400" dirty="0"/>
              <a:t> budsjett og prognose 2023</a:t>
            </a:r>
          </a:p>
          <a:p>
            <a:pPr marL="548640" indent="-548640">
              <a:buAutoNum type="arabicPeriod"/>
            </a:pPr>
            <a:r>
              <a:rPr lang="nb-NO" sz="2400" dirty="0"/>
              <a:t>T1-leveransen generelt</a:t>
            </a:r>
          </a:p>
          <a:p>
            <a:pPr marL="548640" indent="-548640">
              <a:buAutoNum type="arabicPeriod"/>
            </a:pPr>
            <a:r>
              <a:rPr lang="nb-NO" sz="2400" dirty="0"/>
              <a:t>Rapporter til bruk i T1-arbeidet</a:t>
            </a:r>
          </a:p>
          <a:p>
            <a:pPr marL="548640" indent="-548640">
              <a:buAutoNum type="arabicPeriod"/>
            </a:pPr>
            <a:r>
              <a:rPr lang="nb-NO" sz="2400" dirty="0"/>
              <a:t>Evt. andre spørsmål fra dere vedr. T1-arbeidet?</a:t>
            </a:r>
          </a:p>
          <a:p>
            <a:pPr marL="548640" indent="-548640">
              <a:buFontTx/>
              <a:buAutoNum type="arabicPeriod"/>
            </a:pPr>
            <a:endParaRPr lang="nb-NO" sz="2400" dirty="0"/>
          </a:p>
          <a:p>
            <a:pPr marL="548640" indent="-548640">
              <a:buAutoNum type="arabicPeriod"/>
            </a:pPr>
            <a:endParaRPr lang="nb-NO" sz="24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4223C2-5968-45E1-B065-D97DED26C0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97280">
              <a:defRPr/>
            </a:pPr>
            <a:fld id="{AB35ACD5-0D42-42F7-B111-2AEA8F2C3631}" type="slidenum">
              <a:rPr lang="en-US" altLang="nb-NO">
                <a:solidFill>
                  <a:srgbClr val="808080"/>
                </a:solidFill>
                <a:latin typeface="Arial"/>
                <a:ea typeface="ヒラギノ角ゴ Pro W3"/>
              </a:rPr>
              <a:pPr defTabSz="1097280">
                <a:defRPr/>
              </a:pPr>
              <a:t>3</a:t>
            </a:fld>
            <a:endParaRPr lang="en-US" altLang="nb-NO">
              <a:solidFill>
                <a:srgbClr val="808080"/>
              </a:solidFill>
              <a:latin typeface="Arial"/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40809401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Litt praktisk om dagens mø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77631" y="1981200"/>
            <a:ext cx="9716701" cy="4114800"/>
          </a:xfrm>
        </p:spPr>
        <p:txBody>
          <a:bodyPr>
            <a:normAutofit/>
          </a:bodyPr>
          <a:lstStyle/>
          <a:p>
            <a:pPr marL="0" indent="0">
              <a:lnSpc>
                <a:spcPct val="200000"/>
              </a:lnSpc>
              <a:spcBef>
                <a:spcPts val="800"/>
              </a:spcBef>
              <a:buNone/>
            </a:pPr>
            <a:r>
              <a:rPr lang="nb-NO" sz="2150" dirty="0"/>
              <a:t>Presentasjonen blir sendt ut i etterkant</a:t>
            </a:r>
          </a:p>
          <a:p>
            <a:pPr marL="0" indent="0">
              <a:lnSpc>
                <a:spcPct val="200000"/>
              </a:lnSpc>
              <a:spcBef>
                <a:spcPts val="800"/>
              </a:spcBef>
              <a:buNone/>
            </a:pPr>
            <a:r>
              <a:rPr lang="nb-NO" sz="2150" dirty="0"/>
              <a:t>Husk å sette på mute</a:t>
            </a:r>
          </a:p>
          <a:p>
            <a:pPr marL="0" indent="0">
              <a:lnSpc>
                <a:spcPct val="200000"/>
              </a:lnSpc>
              <a:spcBef>
                <a:spcPts val="800"/>
              </a:spcBef>
              <a:buNone/>
            </a:pPr>
            <a:r>
              <a:rPr lang="nb-NO" sz="2150" dirty="0"/>
              <a:t>Spørsmål? Rekk opp hånd eller bruk chatten</a:t>
            </a:r>
          </a:p>
          <a:p>
            <a:pPr marL="325755" indent="-325755">
              <a:lnSpc>
                <a:spcPct val="150000"/>
              </a:lnSpc>
            </a:pPr>
            <a:endParaRPr lang="nb-NO" sz="2400" dirty="0"/>
          </a:p>
        </p:txBody>
      </p:sp>
      <p:pic>
        <p:nvPicPr>
          <p:cNvPr id="9" name="Graphic 8" descr="Chat">
            <a:extLst>
              <a:ext uri="{FF2B5EF4-FFF2-40B4-BE49-F238E27FC236}">
                <a16:creationId xmlns:a16="http://schemas.microsoft.com/office/drawing/2014/main" id="{61DA4CDF-8A77-4167-8AE3-B776E410B21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9837" y="1981200"/>
            <a:ext cx="816379" cy="816379"/>
          </a:xfrm>
          <a:prstGeom prst="rect">
            <a:avLst/>
          </a:prstGeom>
        </p:spPr>
      </p:pic>
      <p:pic>
        <p:nvPicPr>
          <p:cNvPr id="11" name="Graphic 10" descr="Mute speaker">
            <a:extLst>
              <a:ext uri="{FF2B5EF4-FFF2-40B4-BE49-F238E27FC236}">
                <a16:creationId xmlns:a16="http://schemas.microsoft.com/office/drawing/2014/main" id="{9F6D8F79-0FA8-4090-B23B-CA731728FC5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8792" y="2754274"/>
            <a:ext cx="816379" cy="816379"/>
          </a:xfrm>
          <a:prstGeom prst="rect">
            <a:avLst/>
          </a:prstGeom>
        </p:spPr>
      </p:pic>
      <p:pic>
        <p:nvPicPr>
          <p:cNvPr id="5" name="Graphic 4" descr="Raised hand">
            <a:extLst>
              <a:ext uri="{FF2B5EF4-FFF2-40B4-BE49-F238E27FC236}">
                <a16:creationId xmlns:a16="http://schemas.microsoft.com/office/drawing/2014/main" id="{21AF0020-F9EE-44E6-A5AC-10655502E146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97166" y="3570057"/>
            <a:ext cx="816379" cy="816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1032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6BBDC3"/>
            </a:gs>
            <a:gs pos="50000">
              <a:schemeClr val="bg2">
                <a:tint val="98000"/>
                <a:satMod val="130000"/>
                <a:shade val="90000"/>
                <a:lumMod val="103000"/>
              </a:schemeClr>
            </a:gs>
            <a:gs pos="100000">
              <a:schemeClr val="bg2">
                <a:shade val="63000"/>
                <a:satMod val="12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33F7B2F4-AA1B-C041-E206-DAD8B655B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6" name="Tittel 5">
            <a:extLst>
              <a:ext uri="{FF2B5EF4-FFF2-40B4-BE49-F238E27FC236}">
                <a16:creationId xmlns:a16="http://schemas.microsoft.com/office/drawing/2014/main" id="{ADA0FC8A-1DD7-04A9-845B-1832C2E4CFC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b="1" dirty="0"/>
              <a:t>Årskalender</a:t>
            </a:r>
            <a:r>
              <a:rPr lang="nb-NO" b="1"/>
              <a:t> budsjett</a:t>
            </a:r>
            <a:r>
              <a:rPr lang="nb-NO" b="1" dirty="0"/>
              <a:t> og </a:t>
            </a:r>
            <a:r>
              <a:rPr lang="nb-NO" b="1"/>
              <a:t>prognose 2023</a:t>
            </a:r>
          </a:p>
        </p:txBody>
      </p:sp>
    </p:spTree>
    <p:extLst>
      <p:ext uri="{BB962C8B-B14F-4D97-AF65-F5344CB8AC3E}">
        <p14:creationId xmlns:p14="http://schemas.microsoft.com/office/powerpoint/2010/main" val="38766577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Wave 10">
            <a:extLst>
              <a:ext uri="{FF2B5EF4-FFF2-40B4-BE49-F238E27FC236}">
                <a16:creationId xmlns:a16="http://schemas.microsoft.com/office/drawing/2014/main" id="{8DC2C001-9187-2157-AA78-8E24AF31C0CE}"/>
              </a:ext>
            </a:extLst>
          </p:cNvPr>
          <p:cNvSpPr/>
          <p:nvPr/>
        </p:nvSpPr>
        <p:spPr>
          <a:xfrm>
            <a:off x="4497868" y="1392664"/>
            <a:ext cx="770102" cy="903479"/>
          </a:xfrm>
          <a:prstGeom prst="wave">
            <a:avLst/>
          </a:prstGeom>
          <a:solidFill>
            <a:srgbClr val="1170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6./7.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juni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: 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ullering</a:t>
            </a:r>
          </a:p>
        </p:txBody>
      </p:sp>
      <p:grpSp>
        <p:nvGrpSpPr>
          <p:cNvPr id="14" name="Gruppe 13">
            <a:extLst>
              <a:ext uri="{FF2B5EF4-FFF2-40B4-BE49-F238E27FC236}">
                <a16:creationId xmlns:a16="http://schemas.microsoft.com/office/drawing/2014/main" id="{9CD9ED02-7456-4C04-8E50-A66DFBFBC9FD}"/>
              </a:ext>
            </a:extLst>
          </p:cNvPr>
          <p:cNvGrpSpPr/>
          <p:nvPr/>
        </p:nvGrpSpPr>
        <p:grpSpPr>
          <a:xfrm>
            <a:off x="248970" y="1064871"/>
            <a:ext cx="11582984" cy="1553416"/>
            <a:chOff x="248970" y="2201130"/>
            <a:chExt cx="11582984" cy="1553416"/>
          </a:xfrm>
        </p:grpSpPr>
        <p:grpSp>
          <p:nvGrpSpPr>
            <p:cNvPr id="15" name="Gruppe 14">
              <a:extLst>
                <a:ext uri="{FF2B5EF4-FFF2-40B4-BE49-F238E27FC236}">
                  <a16:creationId xmlns:a16="http://schemas.microsoft.com/office/drawing/2014/main" id="{DE6A6675-D64A-478A-8CDF-B08FB96FBAB1}"/>
                </a:ext>
              </a:extLst>
            </p:cNvPr>
            <p:cNvGrpSpPr/>
            <p:nvPr/>
          </p:nvGrpSpPr>
          <p:grpSpPr>
            <a:xfrm>
              <a:off x="248970" y="2201130"/>
              <a:ext cx="10996785" cy="1553416"/>
              <a:chOff x="829000" y="2091948"/>
              <a:chExt cx="10996785" cy="1553416"/>
            </a:xfrm>
          </p:grpSpPr>
          <p:grpSp>
            <p:nvGrpSpPr>
              <p:cNvPr id="17" name="Gruppe 16">
                <a:extLst>
                  <a:ext uri="{FF2B5EF4-FFF2-40B4-BE49-F238E27FC236}">
                    <a16:creationId xmlns:a16="http://schemas.microsoft.com/office/drawing/2014/main" id="{B7A5BCA2-B90C-4295-A884-DA366CCB2688}"/>
                  </a:ext>
                </a:extLst>
              </p:cNvPr>
              <p:cNvGrpSpPr/>
              <p:nvPr/>
            </p:nvGrpSpPr>
            <p:grpSpPr>
              <a:xfrm>
                <a:off x="829000" y="3282840"/>
                <a:ext cx="10996785" cy="339634"/>
                <a:chOff x="1343351" y="1469340"/>
                <a:chExt cx="10996785" cy="339634"/>
              </a:xfrm>
            </p:grpSpPr>
            <p:grpSp>
              <p:nvGrpSpPr>
                <p:cNvPr id="25" name="Group 7">
                  <a:extLst>
                    <a:ext uri="{FF2B5EF4-FFF2-40B4-BE49-F238E27FC236}">
                      <a16:creationId xmlns:a16="http://schemas.microsoft.com/office/drawing/2014/main" id="{8CAB46C6-06BB-43DD-A1B4-F77D8ED7576D}"/>
                    </a:ext>
                  </a:extLst>
                </p:cNvPr>
                <p:cNvGrpSpPr/>
                <p:nvPr/>
              </p:nvGrpSpPr>
              <p:grpSpPr>
                <a:xfrm>
                  <a:off x="1343351" y="1469340"/>
                  <a:ext cx="10996785" cy="339634"/>
                  <a:chOff x="-1140900" y="3904228"/>
                  <a:chExt cx="10996785" cy="339634"/>
                </a:xfrm>
              </p:grpSpPr>
              <p:cxnSp>
                <p:nvCxnSpPr>
                  <p:cNvPr id="28" name="Straight Arrow Connector 38">
                    <a:extLst>
                      <a:ext uri="{FF2B5EF4-FFF2-40B4-BE49-F238E27FC236}">
                        <a16:creationId xmlns:a16="http://schemas.microsoft.com/office/drawing/2014/main" id="{FC696C6C-0B1E-49FA-A373-893D2DB0720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-1140900" y="4080208"/>
                    <a:ext cx="10996785" cy="0"/>
                  </a:xfrm>
                  <a:prstGeom prst="straightConnector1">
                    <a:avLst/>
                  </a:prstGeom>
                  <a:noFill/>
                  <a:ln w="38100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  <a:tailEnd type="none"/>
                  </a:ln>
                  <a:effectLst/>
                </p:spPr>
              </p:cxnSp>
              <p:cxnSp>
                <p:nvCxnSpPr>
                  <p:cNvPr id="29" name="Straight Connector 41">
                    <a:extLst>
                      <a:ext uri="{FF2B5EF4-FFF2-40B4-BE49-F238E27FC236}">
                        <a16:creationId xmlns:a16="http://schemas.microsoft.com/office/drawing/2014/main" id="{1228FC33-127D-422B-80C3-34CFBF386D8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357250" y="3988526"/>
                    <a:ext cx="0" cy="183365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30" name="Straight Connector 47">
                    <a:extLst>
                      <a:ext uri="{FF2B5EF4-FFF2-40B4-BE49-F238E27FC236}">
                        <a16:creationId xmlns:a16="http://schemas.microsoft.com/office/drawing/2014/main" id="{8B119578-AD4A-4A3D-BDD2-2D200C9B9F2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-440062" y="3988525"/>
                    <a:ext cx="0" cy="183365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31" name="Straight Connector 50">
                    <a:extLst>
                      <a:ext uri="{FF2B5EF4-FFF2-40B4-BE49-F238E27FC236}">
                        <a16:creationId xmlns:a16="http://schemas.microsoft.com/office/drawing/2014/main" id="{9D5BC25C-94B7-4C85-A3F1-F989CF0A489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8300470" y="3988526"/>
                    <a:ext cx="0" cy="183365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32" name="Straight Connector 51">
                    <a:extLst>
                      <a:ext uri="{FF2B5EF4-FFF2-40B4-BE49-F238E27FC236}">
                        <a16:creationId xmlns:a16="http://schemas.microsoft.com/office/drawing/2014/main" id="{E4623A9F-0B4B-444B-9EE3-41D7F3267C5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7417890" y="3988526"/>
                    <a:ext cx="0" cy="183365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33" name="Straight Connector 52">
                    <a:extLst>
                      <a:ext uri="{FF2B5EF4-FFF2-40B4-BE49-F238E27FC236}">
                        <a16:creationId xmlns:a16="http://schemas.microsoft.com/office/drawing/2014/main" id="{B6956588-8A33-4208-9D28-F7ED95D2055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6535310" y="3988526"/>
                    <a:ext cx="0" cy="183365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34" name="Straight Connector 55">
                    <a:extLst>
                      <a:ext uri="{FF2B5EF4-FFF2-40B4-BE49-F238E27FC236}">
                        <a16:creationId xmlns:a16="http://schemas.microsoft.com/office/drawing/2014/main" id="{12DF876D-43AF-4731-BA40-46A2C83F9EA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4770150" y="3988526"/>
                    <a:ext cx="0" cy="183365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35" name="Straight Connector 56">
                    <a:extLst>
                      <a:ext uri="{FF2B5EF4-FFF2-40B4-BE49-F238E27FC236}">
                        <a16:creationId xmlns:a16="http://schemas.microsoft.com/office/drawing/2014/main" id="{86857218-5F68-4450-90AA-38C4C4E5FE4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3887570" y="3988526"/>
                    <a:ext cx="0" cy="183365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36" name="Straight Connector 57">
                    <a:extLst>
                      <a:ext uri="{FF2B5EF4-FFF2-40B4-BE49-F238E27FC236}">
                        <a16:creationId xmlns:a16="http://schemas.microsoft.com/office/drawing/2014/main" id="{BC56C58A-469D-43A4-A44E-F9261F81E20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3004990" y="3988526"/>
                    <a:ext cx="0" cy="183365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37" name="Straight Connector 59">
                    <a:extLst>
                      <a:ext uri="{FF2B5EF4-FFF2-40B4-BE49-F238E27FC236}">
                        <a16:creationId xmlns:a16="http://schemas.microsoft.com/office/drawing/2014/main" id="{514A84B9-848F-4F93-B5BF-D32717392D2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2087465" y="3904228"/>
                    <a:ext cx="0" cy="339634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</p:cxnSp>
              <p:sp>
                <p:nvSpPr>
                  <p:cNvPr id="38" name="Rectangle 61">
                    <a:extLst>
                      <a:ext uri="{FF2B5EF4-FFF2-40B4-BE49-F238E27FC236}">
                        <a16:creationId xmlns:a16="http://schemas.microsoft.com/office/drawing/2014/main" id="{D2DC2616-ECE0-4939-89E0-78BD6CA50620}"/>
                      </a:ext>
                    </a:extLst>
                  </p:cNvPr>
                  <p:cNvSpPr/>
                  <p:nvPr/>
                </p:nvSpPr>
                <p:spPr>
                  <a:xfrm>
                    <a:off x="1509499" y="4016608"/>
                    <a:ext cx="343242" cy="144000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 w="9525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  <p:txBody>
                  <a:bodyPr lIns="0" tIns="0" rIns="0" bIns="0" rtlCol="0" anchor="ctr"/>
                  <a:lstStyle/>
                  <a:p>
                    <a:pPr marL="0" marR="0" lvl="0" indent="0" algn="ctr" defTabSz="228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nb-NO" sz="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rPr>
                      <a:t>April</a:t>
                    </a:r>
                  </a:p>
                </p:txBody>
              </p:sp>
              <p:sp>
                <p:nvSpPr>
                  <p:cNvPr id="39" name="Rectangle 62">
                    <a:extLst>
                      <a:ext uri="{FF2B5EF4-FFF2-40B4-BE49-F238E27FC236}">
                        <a16:creationId xmlns:a16="http://schemas.microsoft.com/office/drawing/2014/main" id="{B5658917-E16B-4FE6-ABFB-DB39C86843DA}"/>
                      </a:ext>
                    </a:extLst>
                  </p:cNvPr>
                  <p:cNvSpPr/>
                  <p:nvPr/>
                </p:nvSpPr>
                <p:spPr>
                  <a:xfrm>
                    <a:off x="2392079" y="4016608"/>
                    <a:ext cx="343242" cy="144000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 w="9525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  <p:txBody>
                  <a:bodyPr lIns="0" tIns="0" rIns="0" bIns="0" rtlCol="0" anchor="ctr"/>
                  <a:lstStyle/>
                  <a:p>
                    <a:pPr marL="0" marR="0" lvl="0" indent="0" algn="ctr" defTabSz="2286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nb-NO" sz="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rPr>
                      <a:t>Mai</a:t>
                    </a:r>
                  </a:p>
                </p:txBody>
              </p:sp>
              <p:sp>
                <p:nvSpPr>
                  <p:cNvPr id="40" name="Rectangle 63">
                    <a:extLst>
                      <a:ext uri="{FF2B5EF4-FFF2-40B4-BE49-F238E27FC236}">
                        <a16:creationId xmlns:a16="http://schemas.microsoft.com/office/drawing/2014/main" id="{A7E5EED5-3ED0-41AE-9E24-BD9D89775D82}"/>
                      </a:ext>
                    </a:extLst>
                  </p:cNvPr>
                  <p:cNvSpPr/>
                  <p:nvPr/>
                </p:nvSpPr>
                <p:spPr>
                  <a:xfrm>
                    <a:off x="3274659" y="4016608"/>
                    <a:ext cx="343242" cy="144000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 w="9525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  <p:txBody>
                  <a:bodyPr lIns="0" tIns="0" rIns="0" bIns="0"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nb-NO" sz="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rPr>
                      <a:t>Juni</a:t>
                    </a:r>
                    <a:endParaRPr kumimoji="0" lang="nb-NO" sz="11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endParaRPr>
                  </a:p>
                </p:txBody>
              </p:sp>
              <p:sp>
                <p:nvSpPr>
                  <p:cNvPr id="41" name="Rectangle 64">
                    <a:extLst>
                      <a:ext uri="{FF2B5EF4-FFF2-40B4-BE49-F238E27FC236}">
                        <a16:creationId xmlns:a16="http://schemas.microsoft.com/office/drawing/2014/main" id="{22BACC07-2012-43D9-97F2-520897B553AB}"/>
                      </a:ext>
                    </a:extLst>
                  </p:cNvPr>
                  <p:cNvSpPr/>
                  <p:nvPr/>
                </p:nvSpPr>
                <p:spPr>
                  <a:xfrm>
                    <a:off x="4157239" y="4016608"/>
                    <a:ext cx="343242" cy="144000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 w="9525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  <p:txBody>
                  <a:bodyPr lIns="0" tIns="0" rIns="0" bIns="0"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nb-NO" sz="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rPr>
                      <a:t>Juli</a:t>
                    </a:r>
                    <a:endParaRPr kumimoji="0" lang="nb-NO" sz="11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endParaRPr>
                  </a:p>
                </p:txBody>
              </p:sp>
              <p:sp>
                <p:nvSpPr>
                  <p:cNvPr id="42" name="Rectangle 65">
                    <a:extLst>
                      <a:ext uri="{FF2B5EF4-FFF2-40B4-BE49-F238E27FC236}">
                        <a16:creationId xmlns:a16="http://schemas.microsoft.com/office/drawing/2014/main" id="{4F475315-1478-461E-A13E-3086767D6B3A}"/>
                      </a:ext>
                    </a:extLst>
                  </p:cNvPr>
                  <p:cNvSpPr/>
                  <p:nvPr/>
                </p:nvSpPr>
                <p:spPr>
                  <a:xfrm>
                    <a:off x="5039819" y="4016608"/>
                    <a:ext cx="343242" cy="144000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 w="9525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  <p:txBody>
                  <a:bodyPr lIns="0" tIns="0" rIns="0" bIns="0"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nb-NO" sz="800" b="0" i="0" u="none" strike="noStrike" kern="0" cap="none" spc="0" normalizeH="0" baseline="0" noProof="0" err="1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rPr>
                      <a:t>Aug</a:t>
                    </a:r>
                    <a:endParaRPr kumimoji="0" lang="nb-NO" sz="11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endParaRPr>
                  </a:p>
                </p:txBody>
              </p:sp>
              <p:sp>
                <p:nvSpPr>
                  <p:cNvPr id="43" name="Rectangle 66">
                    <a:extLst>
                      <a:ext uri="{FF2B5EF4-FFF2-40B4-BE49-F238E27FC236}">
                        <a16:creationId xmlns:a16="http://schemas.microsoft.com/office/drawing/2014/main" id="{3041A353-8119-4C54-B1B9-0B7E358D74A9}"/>
                      </a:ext>
                    </a:extLst>
                  </p:cNvPr>
                  <p:cNvSpPr/>
                  <p:nvPr/>
                </p:nvSpPr>
                <p:spPr>
                  <a:xfrm>
                    <a:off x="5922399" y="4016608"/>
                    <a:ext cx="343242" cy="144000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 w="9525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  <p:txBody>
                  <a:bodyPr lIns="0" tIns="0" rIns="0" bIns="0"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nb-NO" sz="800" b="0" i="0" u="none" strike="noStrike" kern="0" cap="none" spc="0" normalizeH="0" baseline="0" noProof="0" err="1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rPr>
                      <a:t>Sept</a:t>
                    </a:r>
                    <a:endParaRPr kumimoji="0" lang="nb-NO" sz="11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endParaRPr>
                  </a:p>
                </p:txBody>
              </p:sp>
              <p:sp>
                <p:nvSpPr>
                  <p:cNvPr id="44" name="Rectangle 67">
                    <a:extLst>
                      <a:ext uri="{FF2B5EF4-FFF2-40B4-BE49-F238E27FC236}">
                        <a16:creationId xmlns:a16="http://schemas.microsoft.com/office/drawing/2014/main" id="{04288097-C8B9-4F00-92FE-EEF0F2517299}"/>
                      </a:ext>
                    </a:extLst>
                  </p:cNvPr>
                  <p:cNvSpPr/>
                  <p:nvPr/>
                </p:nvSpPr>
                <p:spPr>
                  <a:xfrm>
                    <a:off x="6804979" y="4016608"/>
                    <a:ext cx="343242" cy="144000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 w="9525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  <p:txBody>
                  <a:bodyPr lIns="0" tIns="0" rIns="0" bIns="0"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nb-NO" sz="800" b="0" i="0" u="none" strike="noStrike" kern="0" cap="none" spc="0" normalizeH="0" baseline="0" noProof="0" err="1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rPr>
                      <a:t>Okt</a:t>
                    </a:r>
                    <a:endParaRPr kumimoji="0" lang="nb-NO" sz="11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endParaRPr>
                  </a:p>
                </p:txBody>
              </p:sp>
              <p:sp>
                <p:nvSpPr>
                  <p:cNvPr id="45" name="Rectangle 68">
                    <a:extLst>
                      <a:ext uri="{FF2B5EF4-FFF2-40B4-BE49-F238E27FC236}">
                        <a16:creationId xmlns:a16="http://schemas.microsoft.com/office/drawing/2014/main" id="{A61794E8-0F2B-403E-A54B-62BAF57F46D0}"/>
                      </a:ext>
                    </a:extLst>
                  </p:cNvPr>
                  <p:cNvSpPr/>
                  <p:nvPr/>
                </p:nvSpPr>
                <p:spPr>
                  <a:xfrm>
                    <a:off x="7687559" y="4016608"/>
                    <a:ext cx="343242" cy="144000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 w="9525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  <p:txBody>
                  <a:bodyPr lIns="0" tIns="0" rIns="0" bIns="0"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nb-NO" sz="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rPr>
                      <a:t>Nov</a:t>
                    </a:r>
                    <a:endParaRPr kumimoji="0" lang="nb-NO" sz="11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endParaRPr>
                  </a:p>
                </p:txBody>
              </p:sp>
              <p:sp>
                <p:nvSpPr>
                  <p:cNvPr id="46" name="Rectangle 69">
                    <a:extLst>
                      <a:ext uri="{FF2B5EF4-FFF2-40B4-BE49-F238E27FC236}">
                        <a16:creationId xmlns:a16="http://schemas.microsoft.com/office/drawing/2014/main" id="{348DCC38-8C0F-4F47-A550-2F6D5981EA18}"/>
                      </a:ext>
                    </a:extLst>
                  </p:cNvPr>
                  <p:cNvSpPr/>
                  <p:nvPr/>
                </p:nvSpPr>
                <p:spPr>
                  <a:xfrm>
                    <a:off x="8570139" y="4016608"/>
                    <a:ext cx="343242" cy="144000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 w="9525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  <p:txBody>
                  <a:bodyPr lIns="0" tIns="0" rIns="0" bIns="0"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nb-NO" sz="8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rPr>
                      <a:t>Des</a:t>
                    </a:r>
                    <a:endParaRPr kumimoji="0" lang="nb-NO" sz="11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endParaRPr>
                  </a:p>
                </p:txBody>
              </p:sp>
              <p:sp>
                <p:nvSpPr>
                  <p:cNvPr id="47" name="Rectangle 71">
                    <a:extLst>
                      <a:ext uri="{FF2B5EF4-FFF2-40B4-BE49-F238E27FC236}">
                        <a16:creationId xmlns:a16="http://schemas.microsoft.com/office/drawing/2014/main" id="{13D08586-CE1C-4708-987F-D956FB5F3784}"/>
                      </a:ext>
                    </a:extLst>
                  </p:cNvPr>
                  <p:cNvSpPr/>
                  <p:nvPr/>
                </p:nvSpPr>
                <p:spPr>
                  <a:xfrm>
                    <a:off x="-229533" y="4008208"/>
                    <a:ext cx="343242" cy="144000"/>
                  </a:xfrm>
                  <a:prstGeom prst="rect">
                    <a:avLst/>
                  </a:prstGeom>
                  <a:solidFill>
                    <a:schemeClr val="bg1">
                      <a:lumMod val="85000"/>
                    </a:schemeClr>
                  </a:solidFill>
                  <a:ln w="9525" cap="flat" cmpd="sng" algn="ctr">
                    <a:solidFill>
                      <a:sysClr val="windowText" lastClr="000000"/>
                    </a:solidFill>
                    <a:prstDash val="solid"/>
                    <a:miter lim="800000"/>
                  </a:ln>
                  <a:effectLst/>
                </p:spPr>
                <p:txBody>
                  <a:bodyPr lIns="0" tIns="0" rIns="0" bIns="0"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nb-NO" sz="800" b="0" i="0" u="none" strike="noStrike" kern="0" cap="none" spc="0" normalizeH="0" baseline="0" noProof="0" err="1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rPr>
                      <a:t>Feb</a:t>
                    </a:r>
                    <a:endParaRPr kumimoji="0" lang="nb-NO" sz="11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endParaRPr>
                  </a:p>
                </p:txBody>
              </p:sp>
            </p:grpSp>
            <p:sp>
              <p:nvSpPr>
                <p:cNvPr id="26" name="Rectangle 70">
                  <a:extLst>
                    <a:ext uri="{FF2B5EF4-FFF2-40B4-BE49-F238E27FC236}">
                      <a16:creationId xmlns:a16="http://schemas.microsoft.com/office/drawing/2014/main" id="{37313014-A0C2-4BAE-9BC6-65F2935FCFE9}"/>
                    </a:ext>
                  </a:extLst>
                </p:cNvPr>
                <p:cNvSpPr/>
                <p:nvPr/>
              </p:nvSpPr>
              <p:spPr>
                <a:xfrm>
                  <a:off x="1475699" y="1581720"/>
                  <a:ext cx="343242" cy="144000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9525" cap="flat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  <p:txBody>
                <a:bodyPr lIns="0" tIns="0" rIns="0" b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b-NO" sz="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rPr>
                    <a:t>Jan</a:t>
                  </a:r>
                  <a:endParaRPr kumimoji="0" lang="nb-NO" sz="11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27" name="Rectangle 71">
                  <a:extLst>
                    <a:ext uri="{FF2B5EF4-FFF2-40B4-BE49-F238E27FC236}">
                      <a16:creationId xmlns:a16="http://schemas.microsoft.com/office/drawing/2014/main" id="{0E52B444-5B0D-4B6A-81E4-1B558A605B83}"/>
                    </a:ext>
                  </a:extLst>
                </p:cNvPr>
                <p:cNvSpPr/>
                <p:nvPr/>
              </p:nvSpPr>
              <p:spPr>
                <a:xfrm>
                  <a:off x="3111169" y="1573320"/>
                  <a:ext cx="343242" cy="144000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9525" cap="flat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  <p:txBody>
                <a:bodyPr lIns="0" tIns="0" rIns="0" b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b-NO" sz="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rPr>
                    <a:t>Mars</a:t>
                  </a:r>
                  <a:endParaRPr kumimoji="0" lang="nb-NO" sz="11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endParaRPr>
                </a:p>
              </p:txBody>
            </p:sp>
          </p:grpSp>
          <p:cxnSp>
            <p:nvCxnSpPr>
              <p:cNvPr id="18" name="Straight Connector 59">
                <a:extLst>
                  <a:ext uri="{FF2B5EF4-FFF2-40B4-BE49-F238E27FC236}">
                    <a16:creationId xmlns:a16="http://schemas.microsoft.com/office/drawing/2014/main" id="{D60395A6-210C-4290-BEDF-66740C44377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29000" y="3280906"/>
                <a:ext cx="0" cy="339634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9" name="Straight Connector 41">
                <a:extLst>
                  <a:ext uri="{FF2B5EF4-FFF2-40B4-BE49-F238E27FC236}">
                    <a16:creationId xmlns:a16="http://schemas.microsoft.com/office/drawing/2014/main" id="{BDC18793-0BA8-473B-89B3-163C35EAC6B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209730" y="3354173"/>
                <a:ext cx="0" cy="183365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0" name="Straight Connector 59">
                <a:extLst>
                  <a:ext uri="{FF2B5EF4-FFF2-40B4-BE49-F238E27FC236}">
                    <a16:creationId xmlns:a16="http://schemas.microsoft.com/office/drawing/2014/main" id="{ACD1585D-6809-40F9-B5E4-262C69C116E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629454" y="3283426"/>
                <a:ext cx="0" cy="339634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1" name="Straight Connector 59">
                <a:extLst>
                  <a:ext uri="{FF2B5EF4-FFF2-40B4-BE49-F238E27FC236}">
                    <a16:creationId xmlns:a16="http://schemas.microsoft.com/office/drawing/2014/main" id="{DDBA3107-3498-462A-9CBB-BC3F2DA944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169228" y="3305730"/>
                <a:ext cx="0" cy="339634"/>
              </a:xfrm>
              <a:prstGeom prst="line">
                <a:avLst/>
              </a:prstGeom>
              <a:noFill/>
              <a:ln w="381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22" name="Star: 6 Points 141">
                <a:extLst>
                  <a:ext uri="{FF2B5EF4-FFF2-40B4-BE49-F238E27FC236}">
                    <a16:creationId xmlns:a16="http://schemas.microsoft.com/office/drawing/2014/main" id="{14FE0F16-4084-4E86-9C0B-B02E4A8D121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181659" y="2091948"/>
                <a:ext cx="1061752" cy="1116000"/>
              </a:xfrm>
              <a:prstGeom prst="star6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0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15. des.: </a:t>
                </a:r>
                <a:r>
                  <a:rPr kumimoji="0" lang="nb-NO" sz="1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Års-budsjett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+ LTP</a:t>
                </a:r>
              </a:p>
            </p:txBody>
          </p:sp>
          <p:sp>
            <p:nvSpPr>
              <p:cNvPr id="23" name="Star: 6 Points 141">
                <a:extLst>
                  <a:ext uri="{FF2B5EF4-FFF2-40B4-BE49-F238E27FC236}">
                    <a16:creationId xmlns:a16="http://schemas.microsoft.com/office/drawing/2014/main" id="{F32C706D-F22E-4F29-8AA7-94C504EA05B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713127" y="2091948"/>
                <a:ext cx="1061752" cy="1116000"/>
              </a:xfrm>
              <a:prstGeom prst="star6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0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T2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0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21. sept.: </a:t>
                </a:r>
                <a:r>
                  <a:rPr kumimoji="0" lang="nb-NO" sz="1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Årsprognose</a:t>
                </a:r>
              </a:p>
            </p:txBody>
          </p:sp>
          <p:sp>
            <p:nvSpPr>
              <p:cNvPr id="24" name="Star: 6 Points 141">
                <a:extLst>
                  <a:ext uri="{FF2B5EF4-FFF2-40B4-BE49-F238E27FC236}">
                    <a16:creationId xmlns:a16="http://schemas.microsoft.com/office/drawing/2014/main" id="{68940BBB-E011-4AB9-89A9-372BF4CB4D6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174345" y="2091948"/>
                <a:ext cx="1061752" cy="1116000"/>
              </a:xfrm>
              <a:prstGeom prst="star6">
                <a:avLst/>
              </a:prstGeom>
              <a:solidFill>
                <a:srgbClr val="70AD47">
                  <a:lumMod val="7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0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T1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0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25. mai: </a:t>
                </a:r>
                <a:r>
                  <a:rPr kumimoji="0" lang="nb-NO" sz="1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Årsprognose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000" b="1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+ evt. LTP*</a:t>
                </a:r>
              </a:p>
            </p:txBody>
          </p:sp>
        </p:grpSp>
        <p:sp>
          <p:nvSpPr>
            <p:cNvPr id="16" name="Star: 6 Points 141">
              <a:extLst>
                <a:ext uri="{FF2B5EF4-FFF2-40B4-BE49-F238E27FC236}">
                  <a16:creationId xmlns:a16="http://schemas.microsoft.com/office/drawing/2014/main" id="{0A1ADC40-CE26-47AC-BCC0-5B325AAF45F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770202" y="2201130"/>
              <a:ext cx="1061752" cy="1116000"/>
            </a:xfrm>
            <a:prstGeom prst="star6">
              <a:avLst/>
            </a:prstGeom>
            <a:solidFill>
              <a:srgbClr val="70AD47">
                <a:lumMod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T3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25. jan.: </a:t>
              </a:r>
              <a:r>
                <a:rPr kumimoji="0" lang="nb-NO" sz="10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Vurdering regnskap m.m.</a:t>
              </a:r>
            </a:p>
          </p:txBody>
        </p:sp>
      </p:grpSp>
      <p:sp>
        <p:nvSpPr>
          <p:cNvPr id="5" name="Callout: Up Arrow 4">
            <a:extLst>
              <a:ext uri="{FF2B5EF4-FFF2-40B4-BE49-F238E27FC236}">
                <a16:creationId xmlns:a16="http://schemas.microsoft.com/office/drawing/2014/main" id="{DC731C5E-C472-E0FC-A35F-A929F896D469}"/>
              </a:ext>
            </a:extLst>
          </p:cNvPr>
          <p:cNvSpPr/>
          <p:nvPr/>
        </p:nvSpPr>
        <p:spPr>
          <a:xfrm>
            <a:off x="1403046" y="2598210"/>
            <a:ext cx="864809" cy="1332817"/>
          </a:xfrm>
          <a:prstGeom prst="upArrowCallou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. mars:</a:t>
            </a:r>
          </a:p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ønnsimport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BEVAAR 2023</a:t>
            </a:r>
          </a:p>
        </p:txBody>
      </p:sp>
      <p:sp>
        <p:nvSpPr>
          <p:cNvPr id="9" name="Callout: Up Arrow 8">
            <a:extLst>
              <a:ext uri="{FF2B5EF4-FFF2-40B4-BE49-F238E27FC236}">
                <a16:creationId xmlns:a16="http://schemas.microsoft.com/office/drawing/2014/main" id="{CA1FEF49-1F26-AB8A-8242-3D7C5FE39880}"/>
              </a:ext>
            </a:extLst>
          </p:cNvPr>
          <p:cNvSpPr/>
          <p:nvPr/>
        </p:nvSpPr>
        <p:spPr>
          <a:xfrm>
            <a:off x="7682854" y="2625733"/>
            <a:ext cx="865658" cy="1320914"/>
          </a:xfrm>
          <a:prstGeom prst="upArrowCallout">
            <a:avLst>
              <a:gd name="adj1" fmla="val 25000"/>
              <a:gd name="adj2" fmla="val 25000"/>
              <a:gd name="adj3" fmla="val 25000"/>
              <a:gd name="adj4" fmla="val 60163"/>
            </a:avLst>
          </a:prstGeom>
          <a:solidFill>
            <a:srgbClr val="5FA2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.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kt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:</a:t>
            </a:r>
          </a:p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mport BOAVUR </a:t>
            </a:r>
          </a:p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2023-28)</a:t>
            </a:r>
          </a:p>
        </p:txBody>
      </p:sp>
      <p:sp>
        <p:nvSpPr>
          <p:cNvPr id="2" name="Callout: Up Arrow 3">
            <a:extLst>
              <a:ext uri="{FF2B5EF4-FFF2-40B4-BE49-F238E27FC236}">
                <a16:creationId xmlns:a16="http://schemas.microsoft.com/office/drawing/2014/main" id="{A39F39EF-8DFE-2203-3938-3C9A46B7AE7A}"/>
              </a:ext>
            </a:extLst>
          </p:cNvPr>
          <p:cNvSpPr/>
          <p:nvPr/>
        </p:nvSpPr>
        <p:spPr>
          <a:xfrm>
            <a:off x="4366739" y="2584143"/>
            <a:ext cx="960821" cy="1332819"/>
          </a:xfrm>
          <a:prstGeom prst="upArrowCallou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8. </a:t>
            </a:r>
            <a:r>
              <a:rPr kumimoji="0" lang="en-US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juni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:</a:t>
            </a:r>
          </a:p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ønnsimport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BEVAAR 2024 + BEVLTB 2025-28</a:t>
            </a:r>
          </a:p>
        </p:txBody>
      </p:sp>
      <p:sp>
        <p:nvSpPr>
          <p:cNvPr id="6" name="Tittel 5">
            <a:extLst>
              <a:ext uri="{FF2B5EF4-FFF2-40B4-BE49-F238E27FC236}">
                <a16:creationId xmlns:a16="http://schemas.microsoft.com/office/drawing/2014/main" id="{F30E1A06-411F-B7DB-97E8-A9285563A2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b-NO" b="1" err="1"/>
              <a:t>Årskalender</a:t>
            </a:r>
            <a:r>
              <a:rPr lang="nb-NO" b="1"/>
              <a:t> budsjett/prognose 2023</a:t>
            </a:r>
          </a:p>
        </p:txBody>
      </p:sp>
      <p:sp>
        <p:nvSpPr>
          <p:cNvPr id="3" name="TextBox 6">
            <a:extLst>
              <a:ext uri="{FF2B5EF4-FFF2-40B4-BE49-F238E27FC236}">
                <a16:creationId xmlns:a16="http://schemas.microsoft.com/office/drawing/2014/main" id="{46543B4E-3C70-CE40-BE3D-C6CA240F5866}"/>
              </a:ext>
            </a:extLst>
          </p:cNvPr>
          <p:cNvSpPr txBox="1"/>
          <p:nvPr/>
        </p:nvSpPr>
        <p:spPr>
          <a:xfrm>
            <a:off x="2472169" y="4229785"/>
            <a:ext cx="1188000" cy="720000"/>
          </a:xfrm>
          <a:prstGeom prst="rect">
            <a:avLst/>
          </a:prstGeom>
          <a:solidFill>
            <a:srgbClr val="FFBC79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72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2. a</a:t>
            </a: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il</a:t>
            </a: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rbeidsstu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Årskalender</a:t>
            </a: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e</a:t>
            </a:r>
            <a:r>
              <a:rPr kumimoji="0" lang="nb-NO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t</a:t>
            </a: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 spørsmål vedr. T1 m.m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" name="TextBox 6">
            <a:extLst>
              <a:ext uri="{FF2B5EF4-FFF2-40B4-BE49-F238E27FC236}">
                <a16:creationId xmlns:a16="http://schemas.microsoft.com/office/drawing/2014/main" id="{CFA943FC-CB4B-2A27-CBD2-947B77A5B237}"/>
              </a:ext>
            </a:extLst>
          </p:cNvPr>
          <p:cNvSpPr txBox="1"/>
          <p:nvPr/>
        </p:nvSpPr>
        <p:spPr>
          <a:xfrm>
            <a:off x="6181118" y="4229785"/>
            <a:ext cx="1188000" cy="720000"/>
          </a:xfrm>
          <a:prstGeom prst="rect">
            <a:avLst/>
          </a:prstGeom>
          <a:solidFill>
            <a:srgbClr val="FFBC79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72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4. aug.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rbeidsstu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OAVUR, evt. spørsmål/avklaringer vedr. T2 m.m.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40316A0B-79E4-15AA-6C90-C317A6B56FFA}"/>
              </a:ext>
            </a:extLst>
          </p:cNvPr>
          <p:cNvSpPr txBox="1"/>
          <p:nvPr/>
        </p:nvSpPr>
        <p:spPr>
          <a:xfrm>
            <a:off x="7768825" y="4229785"/>
            <a:ext cx="1188000" cy="720000"/>
          </a:xfrm>
          <a:prstGeom prst="rect">
            <a:avLst/>
          </a:prstGeom>
          <a:solidFill>
            <a:srgbClr val="FFBC79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72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. okt.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rbeidsstu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5.12.-leveransen m.m.</a:t>
            </a: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41FE11A4-5F9F-17FF-E102-321CDFBC34CF}"/>
              </a:ext>
            </a:extLst>
          </p:cNvPr>
          <p:cNvSpPr txBox="1"/>
          <p:nvPr/>
        </p:nvSpPr>
        <p:spPr>
          <a:xfrm>
            <a:off x="10206181" y="4479541"/>
            <a:ext cx="1480145" cy="415498"/>
          </a:xfrm>
          <a:prstGeom prst="rect">
            <a:avLst/>
          </a:prstGeom>
          <a:solidFill>
            <a:srgbClr val="D2E7C3"/>
          </a:solidFill>
          <a:ln w="25400">
            <a:solidFill>
              <a:schemeClr val="bg1">
                <a:lumMod val="85000"/>
              </a:schemeClr>
            </a:solidFill>
          </a:ln>
        </p:spPr>
        <p:txBody>
          <a:bodyPr wrap="square" lIns="36000" rIns="36000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 Til T1 vil det også være rettelagt for at enheter som ønsker kan utarbeide langtidsprognose (LTP)</a:t>
            </a:r>
          </a:p>
        </p:txBody>
      </p:sp>
      <p:cxnSp>
        <p:nvCxnSpPr>
          <p:cNvPr id="13" name="Rett pilkobling 12">
            <a:extLst>
              <a:ext uri="{FF2B5EF4-FFF2-40B4-BE49-F238E27FC236}">
                <a16:creationId xmlns:a16="http://schemas.microsoft.com/office/drawing/2014/main" id="{32B1BD99-539F-EAD8-B857-ADCE7DB4862C}"/>
              </a:ext>
            </a:extLst>
          </p:cNvPr>
          <p:cNvCxnSpPr>
            <a:stCxn id="3" idx="0"/>
          </p:cNvCxnSpPr>
          <p:nvPr/>
        </p:nvCxnSpPr>
        <p:spPr>
          <a:xfrm flipH="1" flipV="1">
            <a:off x="3063041" y="2554024"/>
            <a:ext cx="3128" cy="1675761"/>
          </a:xfrm>
          <a:prstGeom prst="straightConnector1">
            <a:avLst/>
          </a:prstGeom>
          <a:ln>
            <a:solidFill>
              <a:srgbClr val="FF922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4303021" y="4229785"/>
            <a:ext cx="1188000" cy="720000"/>
          </a:xfrm>
          <a:prstGeom prst="rect">
            <a:avLst/>
          </a:prstGeom>
          <a:solidFill>
            <a:srgbClr val="FFBC79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72000" tIns="36000" rIns="36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2. juni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fomø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</a:t>
            </a:r>
            <a:r>
              <a:rPr kumimoji="0" lang="nb-NO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llering</a:t>
            </a: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lønn, satser m.m.</a:t>
            </a:r>
          </a:p>
        </p:txBody>
      </p:sp>
      <p:cxnSp>
        <p:nvCxnSpPr>
          <p:cNvPr id="50" name="Rett pilkobling 49">
            <a:extLst>
              <a:ext uri="{FF2B5EF4-FFF2-40B4-BE49-F238E27FC236}">
                <a16:creationId xmlns:a16="http://schemas.microsoft.com/office/drawing/2014/main" id="{0E009131-9940-2F43-514D-E73DEB697EBA}"/>
              </a:ext>
            </a:extLst>
          </p:cNvPr>
          <p:cNvCxnSpPr>
            <a:cxnSpLocks/>
            <a:stCxn id="4" idx="0"/>
          </p:cNvCxnSpPr>
          <p:nvPr/>
        </p:nvCxnSpPr>
        <p:spPr>
          <a:xfrm flipV="1">
            <a:off x="6775118" y="2572053"/>
            <a:ext cx="0" cy="1657732"/>
          </a:xfrm>
          <a:prstGeom prst="straightConnector1">
            <a:avLst/>
          </a:prstGeom>
          <a:ln>
            <a:solidFill>
              <a:srgbClr val="FF922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Rett pilkobling 53">
            <a:extLst>
              <a:ext uri="{FF2B5EF4-FFF2-40B4-BE49-F238E27FC236}">
                <a16:creationId xmlns:a16="http://schemas.microsoft.com/office/drawing/2014/main" id="{60628B9D-B6BF-9FCD-8092-26E0AD0795FA}"/>
              </a:ext>
            </a:extLst>
          </p:cNvPr>
          <p:cNvCxnSpPr>
            <a:cxnSpLocks/>
            <a:stCxn id="8" idx="0"/>
          </p:cNvCxnSpPr>
          <p:nvPr/>
        </p:nvCxnSpPr>
        <p:spPr>
          <a:xfrm flipV="1">
            <a:off x="8362825" y="2572053"/>
            <a:ext cx="0" cy="1657732"/>
          </a:xfrm>
          <a:prstGeom prst="straightConnector1">
            <a:avLst/>
          </a:prstGeom>
          <a:ln>
            <a:solidFill>
              <a:srgbClr val="FF922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Rett pilkobling 57">
            <a:extLst>
              <a:ext uri="{FF2B5EF4-FFF2-40B4-BE49-F238E27FC236}">
                <a16:creationId xmlns:a16="http://schemas.microsoft.com/office/drawing/2014/main" id="{16E6CBE3-35C1-118D-C81F-EDFD1D588499}"/>
              </a:ext>
            </a:extLst>
          </p:cNvPr>
          <p:cNvCxnSpPr>
            <a:cxnSpLocks/>
            <a:stCxn id="7" idx="0"/>
          </p:cNvCxnSpPr>
          <p:nvPr/>
        </p:nvCxnSpPr>
        <p:spPr>
          <a:xfrm flipV="1">
            <a:off x="4897021" y="2572053"/>
            <a:ext cx="0" cy="1657732"/>
          </a:xfrm>
          <a:prstGeom prst="straightConnector1">
            <a:avLst/>
          </a:prstGeom>
          <a:ln>
            <a:solidFill>
              <a:srgbClr val="FF922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ktangel 47">
            <a:extLst>
              <a:ext uri="{FF2B5EF4-FFF2-40B4-BE49-F238E27FC236}">
                <a16:creationId xmlns:a16="http://schemas.microsoft.com/office/drawing/2014/main" id="{B923864E-A0BC-6153-1281-51DE73E63B65}"/>
              </a:ext>
            </a:extLst>
          </p:cNvPr>
          <p:cNvSpPr/>
          <p:nvPr/>
        </p:nvSpPr>
        <p:spPr>
          <a:xfrm>
            <a:off x="248970" y="6055360"/>
            <a:ext cx="1254606" cy="640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4B8CC30E-021A-6AC3-06D3-0FEA983C1944}"/>
              </a:ext>
            </a:extLst>
          </p:cNvPr>
          <p:cNvSpPr txBox="1"/>
          <p:nvPr/>
        </p:nvSpPr>
        <p:spPr>
          <a:xfrm>
            <a:off x="552939" y="5608281"/>
            <a:ext cx="11289751" cy="1051591"/>
          </a:xfrm>
          <a:prstGeom prst="foldedCorner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tIns="108000" rtlCol="0">
            <a:no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nb-NO" sz="1800" dirty="0"/>
              <a:t>Vil bli enkelte egne tilpasninger for enhetene som deltar i LØP-pilot (HF, MED, MN), men T1 blir likt for all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b-NO" sz="1800" dirty="0"/>
              <a:t>Leveransetidspunkter omtrent som i fjor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b-NO" sz="1800" dirty="0"/>
              <a:t>Færre importer enn tidligere</a:t>
            </a:r>
          </a:p>
        </p:txBody>
      </p:sp>
    </p:spTree>
    <p:extLst>
      <p:ext uri="{BB962C8B-B14F-4D97-AF65-F5344CB8AC3E}">
        <p14:creationId xmlns:p14="http://schemas.microsoft.com/office/powerpoint/2010/main" val="26176771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6BBDC3"/>
            </a:gs>
            <a:gs pos="50000">
              <a:schemeClr val="bg2">
                <a:tint val="98000"/>
                <a:satMod val="130000"/>
                <a:shade val="90000"/>
                <a:lumMod val="103000"/>
              </a:schemeClr>
            </a:gs>
            <a:gs pos="100000">
              <a:schemeClr val="bg2">
                <a:shade val="63000"/>
                <a:satMod val="12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33F7B2F4-AA1B-C041-E206-DAD8B655B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6" name="Tittel 5">
            <a:extLst>
              <a:ext uri="{FF2B5EF4-FFF2-40B4-BE49-F238E27FC236}">
                <a16:creationId xmlns:a16="http://schemas.microsoft.com/office/drawing/2014/main" id="{ADA0FC8A-1DD7-04A9-845B-1832C2E4CFC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b="1"/>
              <a:t>T1-leveransen generelt</a:t>
            </a:r>
          </a:p>
        </p:txBody>
      </p:sp>
    </p:spTree>
    <p:extLst>
      <p:ext uri="{BB962C8B-B14F-4D97-AF65-F5344CB8AC3E}">
        <p14:creationId xmlns:p14="http://schemas.microsoft.com/office/powerpoint/2010/main" val="23410905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E2170E42-3FF9-2131-2679-39871A1FE0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2F36C6AE-DEB7-E60D-DC5B-0B77EA77B9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8" name="Tittel 7">
            <a:extLst>
              <a:ext uri="{FF2B5EF4-FFF2-40B4-BE49-F238E27FC236}">
                <a16:creationId xmlns:a16="http://schemas.microsoft.com/office/drawing/2014/main" id="{BD3D014B-EAF2-C288-FEB0-DF6A0CC8DD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T1-leveransen generelt</a:t>
            </a:r>
            <a:endParaRPr lang="nb-NO" dirty="0"/>
          </a:p>
        </p:txBody>
      </p:sp>
      <p:sp>
        <p:nvSpPr>
          <p:cNvPr id="9" name="Plassholder for innhold 8">
            <a:extLst>
              <a:ext uri="{FF2B5EF4-FFF2-40B4-BE49-F238E27FC236}">
                <a16:creationId xmlns:a16="http://schemas.microsoft.com/office/drawing/2014/main" id="{AFDAEF88-F0DD-3644-D5BE-CD6C87848A1E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0" indent="0"/>
            <a:r>
              <a:rPr lang="nb-NO" dirty="0"/>
              <a:t>Bestillingsbrev er sendt ut i </a:t>
            </a:r>
            <a:r>
              <a:rPr lang="nb-NO" dirty="0" err="1"/>
              <a:t>ePhorte</a:t>
            </a:r>
            <a:r>
              <a:rPr lang="nb-NO" dirty="0"/>
              <a:t> – og ligger også på nettsiden</a:t>
            </a:r>
          </a:p>
          <a:p>
            <a:pPr marL="560396" lvl="1" indent="0">
              <a:buNone/>
            </a:pPr>
            <a:r>
              <a:rPr lang="nb-NO" sz="1800" dirty="0">
                <a:hlinkClick r:id="rId2"/>
              </a:rPr>
              <a:t>https://www.uio.no/for-ansatte/arbeidsstotte/virksomhetsstyring/budsjett-prognose/</a:t>
            </a:r>
            <a:endParaRPr lang="nb-NO" sz="1800" dirty="0"/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800" dirty="0"/>
              <a:t>Inkl. maler for ledelsesvurdering og økonomirapportering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sz="1800"/>
              <a:t>Tableau-rapport for å hente ut tabellene til rapporteringen: mer </a:t>
            </a:r>
            <a:r>
              <a:rPr lang="nb-NO" sz="1800" dirty="0"/>
              <a:t>info etterpå i </a:t>
            </a:r>
            <a:r>
              <a:rPr lang="nb-NO" sz="1800"/>
              <a:t>dag</a:t>
            </a:r>
            <a:endParaRPr lang="nb-NO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dirty="0"/>
          </a:p>
          <a:p>
            <a:pPr marL="0" indent="0"/>
            <a:r>
              <a:rPr lang="nb-NO" dirty="0"/>
              <a:t>I tillegg til økonomi også spørsmål om resultatindikatorer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sz="1800" dirty="0"/>
              <a:t>Enheter hvor det har vært vesentlig endringer i hhv. studiepoeng, doktorgrader, EU- og Forskningsrådsmidler bes om kort redegjørelse</a:t>
            </a:r>
          </a:p>
          <a:p>
            <a:pPr marL="560396" lvl="1" indent="0">
              <a:buNone/>
            </a:pPr>
            <a:endParaRPr lang="nb-NO" dirty="0"/>
          </a:p>
          <a:p>
            <a:pPr marL="0" indent="0"/>
            <a:r>
              <a:rPr lang="nb-NO" dirty="0"/>
              <a:t>Krav om oppdatert </a:t>
            </a:r>
            <a:r>
              <a:rPr lang="nb-NO" dirty="0" err="1"/>
              <a:t>årsprognose</a:t>
            </a:r>
            <a:r>
              <a:rPr lang="nb-NO" dirty="0"/>
              <a:t> 2023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/>
              <a:t>Mulighet for å oppdatere LTP (2024-27) for enheter som ønsker det</a:t>
            </a:r>
          </a:p>
          <a:p>
            <a:pPr marL="0" indent="0"/>
            <a:endParaRPr lang="nb-NO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241056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6BE8AB3D-8AAF-05A3-62A1-09EF806BAC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203D3811-9EEE-55A2-A351-502F0AADC2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46FB6AC9-CBD9-BA52-BA5B-9F01A5F1C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T1: Lønnsimport og håndtering av lønnsvekst</a:t>
            </a:r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1D82BFED-489B-F9E5-9C1F-F1B28F577858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0" indent="0"/>
            <a:r>
              <a:rPr lang="nb-NO" dirty="0">
                <a:latin typeface="+mj-lt"/>
              </a:rPr>
              <a:t>Ble kjørt ny import av lønnsdata 2. mars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sz="1800" dirty="0">
                <a:latin typeface="+mj-lt"/>
              </a:rPr>
              <a:t>Til BEVAAR2023 (ikke BEVLTB)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endParaRPr lang="nb-NO" dirty="0">
              <a:latin typeface="+mj-lt"/>
            </a:endParaRPr>
          </a:p>
          <a:p>
            <a:pPr marL="0" indent="0"/>
            <a:r>
              <a:rPr lang="nb-NO" dirty="0">
                <a:latin typeface="+mj-lt"/>
              </a:rPr>
              <a:t>Kan slette pottene dere i høst satte av til lønnsoppgjøret </a:t>
            </a:r>
            <a:r>
              <a:rPr lang="nb-NO" u="sng" dirty="0">
                <a:latin typeface="+mj-lt"/>
              </a:rPr>
              <a:t>2022</a:t>
            </a:r>
            <a:r>
              <a:rPr lang="nb-NO" dirty="0">
                <a:latin typeface="+mj-lt"/>
              </a:rPr>
              <a:t> i </a:t>
            </a:r>
            <a:r>
              <a:rPr lang="nb-NO" u="sng" dirty="0">
                <a:latin typeface="+mj-lt"/>
              </a:rPr>
              <a:t>BEVAAR2023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sz="1800" dirty="0">
                <a:effectLst/>
                <a:latin typeface="+mj-lt"/>
                <a:ea typeface="DengXian" panose="02010600030101010101" pitchFamily="2" charset="-122"/>
              </a:rPr>
              <a:t>Mao: slette pottene </a:t>
            </a:r>
            <a:r>
              <a:rPr lang="nb-NO" sz="1800" dirty="0">
                <a:latin typeface="+mj-lt"/>
                <a:ea typeface="DengXian" panose="02010600030101010101" pitchFamily="2" charset="-122"/>
              </a:rPr>
              <a:t>med </a:t>
            </a:r>
            <a:r>
              <a:rPr lang="nb-NO" sz="1800" dirty="0">
                <a:effectLst/>
                <a:latin typeface="+mj-lt"/>
                <a:ea typeface="DengXian" panose="02010600030101010101" pitchFamily="2" charset="-122"/>
              </a:rPr>
              <a:t>justeringskode LVEKST_AAR0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sz="1800" dirty="0">
                <a:effectLst/>
                <a:latin typeface="+mj-lt"/>
                <a:ea typeface="DengXian" panose="02010600030101010101" pitchFamily="2" charset="-122"/>
              </a:rPr>
              <a:t>Potten som gjelder lønnsvekst i 2023 (LVEKST_AAR1) bør beholdes</a:t>
            </a:r>
            <a:endParaRPr lang="nb-NO" sz="1800" dirty="0">
              <a:latin typeface="+mj-lt"/>
              <a:ea typeface="DengXian" panose="02010600030101010101" pitchFamily="2" charset="-122"/>
            </a:endParaRP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sz="1800" dirty="0">
                <a:effectLst/>
                <a:latin typeface="+mj-lt"/>
                <a:ea typeface="DengXian" panose="02010600030101010101" pitchFamily="2" charset="-122"/>
              </a:rPr>
              <a:t>I BEVLTB beholde begge pottene, da det ikke har blitt importert oppdaterte lønnsdata hit</a:t>
            </a:r>
          </a:p>
          <a:p>
            <a:pPr marL="0" indent="0"/>
            <a:endParaRPr lang="nb-NO" sz="2400" dirty="0">
              <a:effectLst/>
              <a:latin typeface="+mj-lt"/>
              <a:ea typeface="DengXian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2625035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4A3461D5-36ED-4665-B3FE-2BAD1DA8EADD}" vid="{585C287C-E974-4785-BD2C-7F401461D4EB}"/>
    </a:ext>
  </a:extLst>
</a:theme>
</file>

<file path=ppt/theme/theme2.xml><?xml version="1.0" encoding="utf-8"?>
<a:theme xmlns:a="http://schemas.openxmlformats.org/drawingml/2006/main" name="1_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" id="{5B0A4823-B853-4E03-94BC-DE2E1EFD621E}" vid="{1C5DA98A-F9AE-4FD9-9F7B-ADB1035017DA}"/>
    </a:ext>
  </a:extLst>
</a:theme>
</file>

<file path=ppt/theme/theme3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" id="{5B0A4823-B853-4E03-94BC-DE2E1EFD621E}" vid="{1C5DA98A-F9AE-4FD9-9F7B-ADB1035017DA}"/>
    </a:ext>
  </a:extLst>
</a:theme>
</file>

<file path=ppt/theme/theme4.xml><?xml version="1.0" encoding="utf-8"?>
<a:theme xmlns:a="http://schemas.openxmlformats.org/drawingml/2006/main" name="UIONorsk16-10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5A39113E23CFF4C932AF8A2377B78CA" ma:contentTypeVersion="11" ma:contentTypeDescription="Opprett et nytt dokument." ma:contentTypeScope="" ma:versionID="0949020b831e3975527f475d4a29443d">
  <xsd:schema xmlns:xsd="http://www.w3.org/2001/XMLSchema" xmlns:xs="http://www.w3.org/2001/XMLSchema" xmlns:p="http://schemas.microsoft.com/office/2006/metadata/properties" xmlns:ns2="a3a7f95b-3ac4-485e-8a5a-c0989fae4cb1" xmlns:ns3="b3c01482-6e5d-4180-ba92-bee730fe520b" targetNamespace="http://schemas.microsoft.com/office/2006/metadata/properties" ma:root="true" ma:fieldsID="a2fe29c245d609bdf142105f368dc412" ns2:_="" ns3:_="">
    <xsd:import namespace="a3a7f95b-3ac4-485e-8a5a-c0989fae4cb1"/>
    <xsd:import namespace="b3c01482-6e5d-4180-ba92-bee730fe520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a7f95b-3ac4-485e-8a5a-c0989fae4cb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Bildemerkelapper" ma:readOnly="false" ma:fieldId="{5cf76f15-5ced-4ddc-b409-7134ff3c332f}" ma:taxonomyMulti="true" ma:sspId="c22fd018-c39b-462c-89de-126a365ef11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c01482-6e5d-4180-ba92-bee730fe520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16fd8694-2d75-40e5-ab38-1c197622d127}" ma:internalName="TaxCatchAll" ma:showField="CatchAllData" ma:web="b3c01482-6e5d-4180-ba92-bee730fe520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3c01482-6e5d-4180-ba92-bee730fe520b" xsi:nil="true"/>
    <lcf76f155ced4ddcb4097134ff3c332f xmlns="a3a7f95b-3ac4-485e-8a5a-c0989fae4cb1">
      <Terms xmlns="http://schemas.microsoft.com/office/infopath/2007/PartnerControls"/>
    </lcf76f155ced4ddcb4097134ff3c332f>
    <SharedWithUsers xmlns="b3c01482-6e5d-4180-ba92-bee730fe520b">
      <UserInfo>
        <DisplayName>Forvaltningsgruppe økonomistyring-medlemmer</DisplayName>
        <AccountId>96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6D85F7B-17BF-406A-B4C3-E54DCCD747DF}">
  <ds:schemaRefs>
    <ds:schemaRef ds:uri="a3a7f95b-3ac4-485e-8a5a-c0989fae4cb1"/>
    <ds:schemaRef ds:uri="b3c01482-6e5d-4180-ba92-bee730fe520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89B9CF10-6C6A-444C-B05E-E78C1785A52C}">
  <ds:schemaRefs>
    <ds:schemaRef ds:uri="a3a7f95b-3ac4-485e-8a5a-c0989fae4cb1"/>
    <ds:schemaRef ds:uri="b3c01482-6e5d-4180-ba92-bee730fe520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22754</TotalTime>
  <Words>1164</Words>
  <Application>Microsoft Office PowerPoint</Application>
  <PresentationFormat>Widescreen</PresentationFormat>
  <Paragraphs>189</Paragraphs>
  <Slides>16</Slides>
  <Notes>6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5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6</vt:i4>
      </vt:variant>
    </vt:vector>
  </HeadingPairs>
  <TitlesOfParts>
    <vt:vector size="27" baseType="lpstr">
      <vt:lpstr>Arial</vt:lpstr>
      <vt:lpstr>Arial, sans-serif</vt:lpstr>
      <vt:lpstr>Calibri</vt:lpstr>
      <vt:lpstr>Helvetica</vt:lpstr>
      <vt:lpstr>Wingdings</vt:lpstr>
      <vt:lpstr>Office-tema</vt:lpstr>
      <vt:lpstr>1_Office-tema</vt:lpstr>
      <vt:lpstr>Office-tema</vt:lpstr>
      <vt:lpstr>UIONorsk16-10</vt:lpstr>
      <vt:lpstr>2_Office-tema</vt:lpstr>
      <vt:lpstr>think-cell Slide</vt:lpstr>
      <vt:lpstr>Årskalender 2023 og T1-leveransen</vt:lpstr>
      <vt:lpstr>PowerPoint-presentasjon</vt:lpstr>
      <vt:lpstr>PowerPoint-presentasjon</vt:lpstr>
      <vt:lpstr>Litt praktisk om dagens møte</vt:lpstr>
      <vt:lpstr>Årskalender budsjett og prognose 2023</vt:lpstr>
      <vt:lpstr>Årskalender budsjett/prognose 2023</vt:lpstr>
      <vt:lpstr>T1-leveransen generelt</vt:lpstr>
      <vt:lpstr>T1-leveransen generelt</vt:lpstr>
      <vt:lpstr>T1: Lønnsimport og håndtering av lønnsvekst</vt:lpstr>
      <vt:lpstr>Hvordan håndtere BOA-porteføljen T1 uten ny import?</vt:lpstr>
      <vt:lpstr>Rapporter til bruk i T1-arbeidet</vt:lpstr>
      <vt:lpstr>Relevante rapporter </vt:lpstr>
      <vt:lpstr>Forts. Relevante rapporter</vt:lpstr>
      <vt:lpstr>Forts. Relevante rapporter</vt:lpstr>
      <vt:lpstr>Evt. andre spørsmål?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formasjonsmøte om arbeidet fram mot leveranse 15.12.</dc:title>
  <dc:creator>Jon Christian Ottersen</dc:creator>
  <cp:lastModifiedBy>Jon Christian Ottersen</cp:lastModifiedBy>
  <cp:revision>2</cp:revision>
  <cp:lastPrinted>2022-10-26T09:10:07Z</cp:lastPrinted>
  <dcterms:created xsi:type="dcterms:W3CDTF">2022-09-22T10:45:48Z</dcterms:created>
  <dcterms:modified xsi:type="dcterms:W3CDTF">2023-04-13T08:30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_dlc_DocIdItemGuid">
    <vt:lpwstr>e1ba8df5-1c55-4d83-8486-5b6b738896d5</vt:lpwstr>
  </property>
  <property fmtid="{D5CDD505-2E9C-101B-9397-08002B2CF9AE}" pid="4" name="ContentTypeId">
    <vt:lpwstr>0x01010055A39113E23CFF4C932AF8A2377B78CA</vt:lpwstr>
  </property>
</Properties>
</file>